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1"/>
  </p:sldMasterIdLst>
  <p:notesMasterIdLst>
    <p:notesMasterId r:id="rId3"/>
  </p:notesMasterIdLst>
  <p:handoutMasterIdLst>
    <p:handoutMasterId r:id="rId4"/>
  </p:handoutMasterIdLst>
  <p:sldIdLst>
    <p:sldId id="532" r:id="rId2"/>
  </p:sldIdLst>
  <p:sldSz cx="9144000" cy="2468563"/>
  <p:notesSz cx="7104063" cy="10234613"/>
  <p:custDataLst>
    <p:tags r:id="rId5"/>
  </p:custDataLst>
  <p:defaultTextStyle>
    <a:defPPr>
      <a:defRPr lang="de-DE"/>
    </a:defPPr>
    <a:lvl1pPr marL="0" algn="l" defTabSz="591106" rtl="0" eaLnBrk="1" latinLnBrk="0" hangingPunct="1">
      <a:defRPr sz="1164" kern="1200">
        <a:solidFill>
          <a:schemeClr val="tx1"/>
        </a:solidFill>
        <a:latin typeface="+mn-lt"/>
        <a:ea typeface="+mn-ea"/>
        <a:cs typeface="+mn-cs"/>
      </a:defRPr>
    </a:lvl1pPr>
    <a:lvl2pPr marL="295553" algn="l" defTabSz="591106" rtl="0" eaLnBrk="1" latinLnBrk="0" hangingPunct="1">
      <a:defRPr sz="1164" kern="1200">
        <a:solidFill>
          <a:schemeClr val="tx1"/>
        </a:solidFill>
        <a:latin typeface="+mn-lt"/>
        <a:ea typeface="+mn-ea"/>
        <a:cs typeface="+mn-cs"/>
      </a:defRPr>
    </a:lvl2pPr>
    <a:lvl3pPr marL="591106" algn="l" defTabSz="591106" rtl="0" eaLnBrk="1" latinLnBrk="0" hangingPunct="1">
      <a:defRPr sz="1164" kern="1200">
        <a:solidFill>
          <a:schemeClr val="tx1"/>
        </a:solidFill>
        <a:latin typeface="+mn-lt"/>
        <a:ea typeface="+mn-ea"/>
        <a:cs typeface="+mn-cs"/>
      </a:defRPr>
    </a:lvl3pPr>
    <a:lvl4pPr marL="886659" algn="l" defTabSz="591106" rtl="0" eaLnBrk="1" latinLnBrk="0" hangingPunct="1">
      <a:defRPr sz="1164" kern="1200">
        <a:solidFill>
          <a:schemeClr val="tx1"/>
        </a:solidFill>
        <a:latin typeface="+mn-lt"/>
        <a:ea typeface="+mn-ea"/>
        <a:cs typeface="+mn-cs"/>
      </a:defRPr>
    </a:lvl4pPr>
    <a:lvl5pPr marL="1182212" algn="l" defTabSz="591106" rtl="0" eaLnBrk="1" latinLnBrk="0" hangingPunct="1">
      <a:defRPr sz="1164" kern="1200">
        <a:solidFill>
          <a:schemeClr val="tx1"/>
        </a:solidFill>
        <a:latin typeface="+mn-lt"/>
        <a:ea typeface="+mn-ea"/>
        <a:cs typeface="+mn-cs"/>
      </a:defRPr>
    </a:lvl5pPr>
    <a:lvl6pPr marL="1477766" algn="l" defTabSz="591106" rtl="0" eaLnBrk="1" latinLnBrk="0" hangingPunct="1">
      <a:defRPr sz="1164" kern="1200">
        <a:solidFill>
          <a:schemeClr val="tx1"/>
        </a:solidFill>
        <a:latin typeface="+mn-lt"/>
        <a:ea typeface="+mn-ea"/>
        <a:cs typeface="+mn-cs"/>
      </a:defRPr>
    </a:lvl6pPr>
    <a:lvl7pPr marL="1773319" algn="l" defTabSz="591106" rtl="0" eaLnBrk="1" latinLnBrk="0" hangingPunct="1">
      <a:defRPr sz="1164" kern="1200">
        <a:solidFill>
          <a:schemeClr val="tx1"/>
        </a:solidFill>
        <a:latin typeface="+mn-lt"/>
        <a:ea typeface="+mn-ea"/>
        <a:cs typeface="+mn-cs"/>
      </a:defRPr>
    </a:lvl7pPr>
    <a:lvl8pPr marL="2068872" algn="l" defTabSz="591106" rtl="0" eaLnBrk="1" latinLnBrk="0" hangingPunct="1">
      <a:defRPr sz="1164" kern="1200">
        <a:solidFill>
          <a:schemeClr val="tx1"/>
        </a:solidFill>
        <a:latin typeface="+mn-lt"/>
        <a:ea typeface="+mn-ea"/>
        <a:cs typeface="+mn-cs"/>
      </a:defRPr>
    </a:lvl8pPr>
    <a:lvl9pPr marL="2364426" algn="l" defTabSz="591106" rtl="0" eaLnBrk="1" latinLnBrk="0" hangingPunct="1">
      <a:defRPr sz="116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rim Belaid" initials="KB" lastIdx="1" clrIdx="0">
    <p:extLst>
      <p:ext uri="{19B8F6BF-5375-455C-9EA6-DF929625EA0E}">
        <p15:presenceInfo xmlns:p15="http://schemas.microsoft.com/office/powerpoint/2012/main" userId="S::Karim.Belaid@idiada.com::30cebcba-f0ff-415b-8a1d-56e133dc31c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8946"/>
    <a:srgbClr val="CA6920"/>
    <a:srgbClr val="F5E977"/>
    <a:srgbClr val="F5F5F5"/>
    <a:srgbClr val="C2C2C2"/>
    <a:srgbClr val="FCF8D2"/>
    <a:srgbClr val="DBE9E3"/>
    <a:srgbClr val="FFD9D9"/>
    <a:srgbClr val="CCD6F4"/>
    <a:srgbClr val="94BC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45" autoAdjust="0"/>
    <p:restoredTop sz="92965" autoAdjust="0"/>
  </p:normalViewPr>
  <p:slideViewPr>
    <p:cSldViewPr snapToGrid="0">
      <p:cViewPr varScale="1">
        <p:scale>
          <a:sx n="128" d="100"/>
          <a:sy n="128" d="100"/>
        </p:scale>
        <p:origin x="115" y="922"/>
      </p:cViewPr>
      <p:guideLst/>
    </p:cSldViewPr>
  </p:slideViewPr>
  <p:outlineViewPr>
    <p:cViewPr>
      <p:scale>
        <a:sx n="33" d="100"/>
        <a:sy n="33" d="100"/>
      </p:scale>
      <p:origin x="0" y="-5002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>
        <p:scale>
          <a:sx n="150" d="100"/>
          <a:sy n="150" d="100"/>
        </p:scale>
        <p:origin x="2388" y="-3762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362644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3993" y="0"/>
            <a:ext cx="3078427" cy="362644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4A3762E-A522-41F7-B71E-E8E9707C82DC}" type="datetimeFigureOut">
              <a:rPr lang="de-DE" smtClean="0"/>
              <a:t>09.06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871969"/>
            <a:ext cx="3078427" cy="362644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3993" y="9871969"/>
            <a:ext cx="3078427" cy="362644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96C91EF-3961-43DA-97D1-C6C9DED43CE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784510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362644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7" cy="362644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A4A0280-7445-4B27-8488-589517C4B039}" type="datetimeFigureOut">
              <a:rPr lang="de-DE" smtClean="0"/>
              <a:t>09.06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4159250" y="501650"/>
            <a:ext cx="15422563" cy="4164013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vert="horz" lIns="99075" tIns="49538" rIns="99075" bIns="49538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93962" y="4798305"/>
            <a:ext cx="5716140" cy="495780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871969"/>
            <a:ext cx="3078427" cy="362644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3" y="9871969"/>
            <a:ext cx="3078427" cy="362644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1143D2D7-4F35-42F2-BD56-11CB094AF2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318316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591106" rtl="0" eaLnBrk="1" latinLnBrk="0" hangingPunct="1">
      <a:defRPr sz="775" kern="1200">
        <a:solidFill>
          <a:schemeClr val="tx1"/>
        </a:solidFill>
        <a:latin typeface="+mn-lt"/>
        <a:ea typeface="+mn-ea"/>
        <a:cs typeface="+mn-cs"/>
      </a:defRPr>
    </a:lvl1pPr>
    <a:lvl2pPr marL="57469" indent="-57469" algn="l" defTabSz="591106" rtl="0" eaLnBrk="1" latinLnBrk="0" hangingPunct="1">
      <a:lnSpc>
        <a:spcPts val="989"/>
      </a:lnSpc>
      <a:buClr>
        <a:schemeClr val="tx1"/>
      </a:buClr>
      <a:buSzPct val="90000"/>
      <a:buFont typeface="Arial" pitchFamily="34" charset="0"/>
      <a:buChar char="•"/>
      <a:defRPr sz="775" kern="1200">
        <a:solidFill>
          <a:schemeClr val="tx1"/>
        </a:solidFill>
        <a:latin typeface="+mn-lt"/>
        <a:ea typeface="+mn-ea"/>
        <a:cs typeface="+mn-cs"/>
      </a:defRPr>
    </a:lvl2pPr>
    <a:lvl3pPr marL="114938" indent="-57469" algn="l" defTabSz="591106" rtl="0" eaLnBrk="1" latinLnBrk="0" hangingPunct="1">
      <a:lnSpc>
        <a:spcPts val="989"/>
      </a:lnSpc>
      <a:buClr>
        <a:schemeClr val="tx1"/>
      </a:buClr>
      <a:buSzPct val="90000"/>
      <a:buFont typeface="Arial" pitchFamily="34" charset="0"/>
      <a:buChar char="•"/>
      <a:defRPr sz="775" kern="1200">
        <a:solidFill>
          <a:schemeClr val="tx1"/>
        </a:solidFill>
        <a:latin typeface="+mn-lt"/>
        <a:ea typeface="+mn-ea"/>
        <a:cs typeface="+mn-cs"/>
      </a:defRPr>
    </a:lvl3pPr>
    <a:lvl4pPr marL="172407" indent="-57469" algn="l" defTabSz="591106" rtl="0" eaLnBrk="1" latinLnBrk="0" hangingPunct="1">
      <a:lnSpc>
        <a:spcPts val="989"/>
      </a:lnSpc>
      <a:buClr>
        <a:schemeClr val="tx1"/>
      </a:buClr>
      <a:buSzPct val="90000"/>
      <a:buFont typeface="Arial" pitchFamily="34" charset="0"/>
      <a:buChar char="•"/>
      <a:defRPr sz="775" kern="1200">
        <a:solidFill>
          <a:schemeClr val="tx1"/>
        </a:solidFill>
        <a:latin typeface="+mn-lt"/>
        <a:ea typeface="+mn-ea"/>
        <a:cs typeface="+mn-cs"/>
      </a:defRPr>
    </a:lvl4pPr>
    <a:lvl5pPr marL="233980" indent="-61573" algn="l" defTabSz="591106" rtl="0" eaLnBrk="1" latinLnBrk="0" hangingPunct="1">
      <a:lnSpc>
        <a:spcPts val="989"/>
      </a:lnSpc>
      <a:buClr>
        <a:schemeClr val="tx1"/>
      </a:buClr>
      <a:buSzPct val="90000"/>
      <a:buFont typeface="Arial" pitchFamily="34" charset="0"/>
      <a:buChar char="•"/>
      <a:defRPr sz="775" kern="1200">
        <a:solidFill>
          <a:schemeClr val="tx1"/>
        </a:solidFill>
        <a:latin typeface="+mn-lt"/>
        <a:ea typeface="+mn-ea"/>
        <a:cs typeface="+mn-cs"/>
      </a:defRPr>
    </a:lvl5pPr>
    <a:lvl6pPr marL="291449" indent="-57469" algn="l" defTabSz="591106" rtl="0" eaLnBrk="1" latinLnBrk="0" hangingPunct="1">
      <a:lnSpc>
        <a:spcPts val="989"/>
      </a:lnSpc>
      <a:buClr>
        <a:schemeClr val="tx1"/>
      </a:buClr>
      <a:buSzPct val="90000"/>
      <a:buFont typeface="Arial" pitchFamily="34" charset="0"/>
      <a:buChar char="•"/>
      <a:defRPr sz="775" kern="1200">
        <a:solidFill>
          <a:schemeClr val="tx1"/>
        </a:solidFill>
        <a:latin typeface="+mn-lt"/>
        <a:ea typeface="+mn-ea"/>
        <a:cs typeface="+mn-cs"/>
      </a:defRPr>
    </a:lvl6pPr>
    <a:lvl7pPr marL="291449" indent="-57469" algn="l" defTabSz="591106" rtl="0" eaLnBrk="1" latinLnBrk="0" hangingPunct="1">
      <a:lnSpc>
        <a:spcPts val="989"/>
      </a:lnSpc>
      <a:buClr>
        <a:schemeClr val="tx1"/>
      </a:buClr>
      <a:buSzPct val="90000"/>
      <a:buFont typeface="Arial" pitchFamily="34" charset="0"/>
      <a:buChar char="•"/>
      <a:defRPr sz="775" kern="1200">
        <a:solidFill>
          <a:schemeClr val="tx1"/>
        </a:solidFill>
        <a:latin typeface="+mn-lt"/>
        <a:ea typeface="+mn-ea"/>
        <a:cs typeface="+mn-cs"/>
      </a:defRPr>
    </a:lvl7pPr>
    <a:lvl8pPr marL="291449" indent="-57469" algn="l" defTabSz="591106" rtl="0" eaLnBrk="1" latinLnBrk="0" hangingPunct="1">
      <a:lnSpc>
        <a:spcPts val="989"/>
      </a:lnSpc>
      <a:buClr>
        <a:schemeClr val="tx1"/>
      </a:buClr>
      <a:buSzPct val="90000"/>
      <a:buFont typeface="Arial" pitchFamily="34" charset="0"/>
      <a:buChar char="•"/>
      <a:defRPr sz="775" kern="1200">
        <a:solidFill>
          <a:schemeClr val="tx1"/>
        </a:solidFill>
        <a:latin typeface="+mn-lt"/>
        <a:ea typeface="+mn-ea"/>
        <a:cs typeface="+mn-cs"/>
      </a:defRPr>
    </a:lvl8pPr>
    <a:lvl9pPr marL="291449" indent="-57469" algn="l" defTabSz="591106" rtl="0" eaLnBrk="1" latinLnBrk="0" hangingPunct="1">
      <a:lnSpc>
        <a:spcPts val="989"/>
      </a:lnSpc>
      <a:buClr>
        <a:schemeClr val="tx1"/>
      </a:buClr>
      <a:buSzPct val="90000"/>
      <a:buFont typeface="Arial" pitchFamily="34" charset="0"/>
      <a:buChar char="•"/>
      <a:defRPr sz="775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-4159250" y="501650"/>
            <a:ext cx="15422563" cy="4164013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3269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absch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58037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FC2ED5B2-8DFC-4864-8442-56CA06BC5DA0}"/>
              </a:ext>
            </a:extLst>
          </p:cNvPr>
          <p:cNvSpPr/>
          <p:nvPr userDrawn="1"/>
        </p:nvSpPr>
        <p:spPr>
          <a:xfrm>
            <a:off x="684216" y="363428"/>
            <a:ext cx="8459788" cy="174170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326516A-14A4-46D3-A41A-CBB2110739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6BE146A5-BAF4-4054-A6FC-9A94B206CF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9734" y="485233"/>
            <a:ext cx="7955151" cy="149671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66957" indent="-266957">
              <a:spcBef>
                <a:spcPts val="889"/>
              </a:spcBef>
              <a:buFontTx/>
              <a:buBlip>
                <a:blip r:embed="rId2"/>
              </a:buBlip>
              <a:defRPr sz="1600">
                <a:solidFill>
                  <a:schemeClr val="tx1"/>
                </a:solidFill>
              </a:defRPr>
            </a:lvl1pPr>
            <a:lvl2pPr marL="800875" indent="-266957">
              <a:spcBef>
                <a:spcPts val="889"/>
              </a:spcBef>
              <a:defRPr sz="1600">
                <a:solidFill>
                  <a:schemeClr val="tx1"/>
                </a:solidFill>
              </a:defRPr>
            </a:lvl2pPr>
            <a:lvl3pPr marL="1601750" indent="-266957">
              <a:spcBef>
                <a:spcPts val="889"/>
              </a:spcBef>
              <a:buFontTx/>
              <a:buBlip>
                <a:blip r:embed="rId2"/>
              </a:buBlip>
              <a:defRPr sz="1600">
                <a:solidFill>
                  <a:schemeClr val="tx1"/>
                </a:solidFill>
              </a:defRPr>
            </a:lvl3pPr>
            <a:lvl4pPr>
              <a:spcBef>
                <a:spcPts val="889"/>
              </a:spcBef>
              <a:defRPr sz="1600">
                <a:solidFill>
                  <a:schemeClr val="tx1"/>
                </a:solidFill>
              </a:defRPr>
            </a:lvl4pPr>
            <a:lvl5pPr>
              <a:spcBef>
                <a:spcPts val="889"/>
              </a:spcBef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19127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3-spaltig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684515A0-3ACC-4DA7-A19D-253E613CEB33}"/>
              </a:ext>
            </a:extLst>
          </p:cNvPr>
          <p:cNvSpPr/>
          <p:nvPr userDrawn="1"/>
        </p:nvSpPr>
        <p:spPr>
          <a:xfrm>
            <a:off x="684216" y="363428"/>
            <a:ext cx="8459788" cy="174170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81C53425-D1A6-CE46-8218-C0A917931F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9732" y="486628"/>
            <a:ext cx="2481240" cy="149767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66957" indent="-266957">
              <a:spcBef>
                <a:spcPts val="889"/>
              </a:spcBef>
              <a:buFontTx/>
              <a:buBlip>
                <a:blip r:embed="rId2"/>
              </a:buBlip>
              <a:defRPr sz="1600">
                <a:solidFill>
                  <a:schemeClr val="tx1"/>
                </a:solidFill>
              </a:defRPr>
            </a:lvl1pPr>
            <a:lvl2pPr marL="800875" indent="-266957">
              <a:spcBef>
                <a:spcPts val="889"/>
              </a:spcBef>
              <a:defRPr sz="1600">
                <a:solidFill>
                  <a:schemeClr val="tx1"/>
                </a:solidFill>
              </a:defRPr>
            </a:lvl2pPr>
            <a:lvl3pPr marL="1601750" indent="-266957">
              <a:spcBef>
                <a:spcPts val="889"/>
              </a:spcBef>
              <a:buFontTx/>
              <a:buBlip>
                <a:blip r:embed="rId2"/>
              </a:buBlip>
              <a:defRPr sz="1600">
                <a:solidFill>
                  <a:schemeClr val="tx1"/>
                </a:solidFill>
              </a:defRPr>
            </a:lvl3pPr>
            <a:lvl4pPr>
              <a:defRPr sz="2077">
                <a:solidFill>
                  <a:schemeClr val="tx1"/>
                </a:solidFill>
              </a:defRPr>
            </a:lvl4pPr>
            <a:lvl5pPr>
              <a:defRPr sz="207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26477505-A953-B844-8FB2-CC7BD3DF14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81578" y="486628"/>
            <a:ext cx="2476498" cy="149767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66957" indent="-266957">
              <a:spcBef>
                <a:spcPts val="889"/>
              </a:spcBef>
              <a:buFontTx/>
              <a:buBlip>
                <a:blip r:embed="rId2"/>
              </a:buBlip>
              <a:defRPr sz="1600">
                <a:solidFill>
                  <a:schemeClr val="tx1"/>
                </a:solidFill>
              </a:defRPr>
            </a:lvl1pPr>
            <a:lvl2pPr marL="800875" indent="-266957">
              <a:spcBef>
                <a:spcPts val="889"/>
              </a:spcBef>
              <a:defRPr sz="1600">
                <a:solidFill>
                  <a:schemeClr val="tx1"/>
                </a:solidFill>
              </a:defRPr>
            </a:lvl2pPr>
            <a:lvl3pPr marL="1601750" indent="-266957">
              <a:spcBef>
                <a:spcPts val="889"/>
              </a:spcBef>
              <a:buFontTx/>
              <a:buBlip>
                <a:blip r:embed="rId2"/>
              </a:buBlip>
              <a:defRPr sz="1600">
                <a:solidFill>
                  <a:schemeClr val="tx1"/>
                </a:solidFill>
              </a:defRPr>
            </a:lvl3pPr>
            <a:lvl4pPr>
              <a:defRPr sz="2077">
                <a:solidFill>
                  <a:schemeClr val="tx1"/>
                </a:solidFill>
              </a:defRPr>
            </a:lvl4pPr>
            <a:lvl5pPr>
              <a:defRPr sz="207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37ECD1E9-E7D9-9C40-AEAB-DADAC219A3A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8499" y="486628"/>
            <a:ext cx="2476498" cy="149767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66957" indent="-266957">
              <a:spcBef>
                <a:spcPts val="889"/>
              </a:spcBef>
              <a:buFontTx/>
              <a:buBlip>
                <a:blip r:embed="rId2"/>
              </a:buBlip>
              <a:defRPr sz="1600">
                <a:solidFill>
                  <a:schemeClr val="tx1"/>
                </a:solidFill>
              </a:defRPr>
            </a:lvl1pPr>
            <a:lvl2pPr marL="800875" indent="-266957">
              <a:spcBef>
                <a:spcPts val="889"/>
              </a:spcBef>
              <a:defRPr sz="1600">
                <a:solidFill>
                  <a:schemeClr val="tx1"/>
                </a:solidFill>
              </a:defRPr>
            </a:lvl2pPr>
            <a:lvl3pPr marL="1601750" indent="-266957">
              <a:spcBef>
                <a:spcPts val="889"/>
              </a:spcBef>
              <a:buFontTx/>
              <a:buBlip>
                <a:blip r:embed="rId2"/>
              </a:buBlip>
              <a:defRPr sz="1600">
                <a:solidFill>
                  <a:schemeClr val="tx1"/>
                </a:solidFill>
              </a:defRPr>
            </a:lvl3pPr>
            <a:lvl4pPr>
              <a:defRPr sz="2077">
                <a:solidFill>
                  <a:schemeClr val="tx1"/>
                </a:solidFill>
              </a:defRPr>
            </a:lvl4pPr>
            <a:lvl5pPr>
              <a:defRPr sz="207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1E601254-2DA0-43E9-8C80-21125334B2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9676943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(2/3) &amp; Bild (1/3)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53244A2E-D85A-40DD-98A7-1B8A6E09FC3C}"/>
              </a:ext>
            </a:extLst>
          </p:cNvPr>
          <p:cNvSpPr/>
          <p:nvPr userDrawn="1"/>
        </p:nvSpPr>
        <p:spPr>
          <a:xfrm>
            <a:off x="684216" y="363428"/>
            <a:ext cx="8459788" cy="174170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B5A2B65-74F1-44AE-8E33-6265B32D3E0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14043" y="364798"/>
            <a:ext cx="2729958" cy="174033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3189A53-14DB-9241-B9EB-420EEED5826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9734" y="486625"/>
            <a:ext cx="5218590" cy="149768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66957" indent="-266957">
              <a:spcBef>
                <a:spcPts val="889"/>
              </a:spcBef>
              <a:buFontTx/>
              <a:buBlip>
                <a:blip r:embed="rId2"/>
              </a:buBlip>
              <a:defRPr sz="1600">
                <a:solidFill>
                  <a:schemeClr val="tx1"/>
                </a:solidFill>
              </a:defRPr>
            </a:lvl1pPr>
            <a:lvl2pPr marL="800875" indent="-266957">
              <a:spcBef>
                <a:spcPts val="889"/>
              </a:spcBef>
              <a:defRPr sz="1600">
                <a:solidFill>
                  <a:schemeClr val="tx1"/>
                </a:solidFill>
              </a:defRPr>
            </a:lvl2pPr>
            <a:lvl3pPr marL="1601750" indent="-266957">
              <a:spcBef>
                <a:spcPts val="889"/>
              </a:spcBef>
              <a:buFontTx/>
              <a:buBlip>
                <a:blip r:embed="rId2"/>
              </a:buBlip>
              <a:defRPr sz="1600">
                <a:solidFill>
                  <a:schemeClr val="tx1"/>
                </a:solidFill>
              </a:defRPr>
            </a:lvl3pPr>
            <a:lvl4pPr>
              <a:defRPr sz="2077">
                <a:solidFill>
                  <a:schemeClr val="tx1"/>
                </a:solidFill>
              </a:defRPr>
            </a:lvl4pPr>
            <a:lvl5pPr>
              <a:defRPr sz="207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55FCE44-58E2-4CDF-AACD-0DA32797D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6516769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21">
            <a:extLst>
              <a:ext uri="{FF2B5EF4-FFF2-40B4-BE49-F238E27FC236}">
                <a16:creationId xmlns:a16="http://schemas.microsoft.com/office/drawing/2014/main" id="{9642DB76-9735-470F-ADCC-DDF4E2D6A3F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7818" y="365714"/>
            <a:ext cx="5068332" cy="1077041"/>
          </a:xfrm>
          <a:custGeom>
            <a:avLst/>
            <a:gdLst>
              <a:gd name="connsiteX0" fmla="*/ 0 w 5063169"/>
              <a:gd name="connsiteY0" fmla="*/ 0 h 2241550"/>
              <a:gd name="connsiteX1" fmla="*/ 5063169 w 5063169"/>
              <a:gd name="connsiteY1" fmla="*/ 0 h 2241550"/>
              <a:gd name="connsiteX2" fmla="*/ 5063169 w 5063169"/>
              <a:gd name="connsiteY2" fmla="*/ 2241550 h 2241550"/>
              <a:gd name="connsiteX3" fmla="*/ 0 w 5063169"/>
              <a:gd name="connsiteY3" fmla="*/ 2241550 h 2241550"/>
              <a:gd name="connsiteX4" fmla="*/ 0 w 5063169"/>
              <a:gd name="connsiteY4" fmla="*/ 0 h 2241550"/>
              <a:gd name="connsiteX0" fmla="*/ 0 w 5063169"/>
              <a:gd name="connsiteY0" fmla="*/ 0 h 2241550"/>
              <a:gd name="connsiteX1" fmla="*/ 5063169 w 5063169"/>
              <a:gd name="connsiteY1" fmla="*/ 0 h 2241550"/>
              <a:gd name="connsiteX2" fmla="*/ 5063169 w 5063169"/>
              <a:gd name="connsiteY2" fmla="*/ 2241550 h 2241550"/>
              <a:gd name="connsiteX3" fmla="*/ 1069298 w 5063169"/>
              <a:gd name="connsiteY3" fmla="*/ 2241550 h 2241550"/>
              <a:gd name="connsiteX4" fmla="*/ 0 w 5063169"/>
              <a:gd name="connsiteY4" fmla="*/ 0 h 2241550"/>
              <a:gd name="connsiteX0" fmla="*/ 0 w 5063169"/>
              <a:gd name="connsiteY0" fmla="*/ 0 h 2241550"/>
              <a:gd name="connsiteX1" fmla="*/ 5063169 w 5063169"/>
              <a:gd name="connsiteY1" fmla="*/ 0 h 2241550"/>
              <a:gd name="connsiteX2" fmla="*/ 5063169 w 5063169"/>
              <a:gd name="connsiteY2" fmla="*/ 2241550 h 2241550"/>
              <a:gd name="connsiteX3" fmla="*/ 1071679 w 5063169"/>
              <a:gd name="connsiteY3" fmla="*/ 2241550 h 2241550"/>
              <a:gd name="connsiteX4" fmla="*/ 0 w 5063169"/>
              <a:gd name="connsiteY4" fmla="*/ 0 h 2241550"/>
              <a:gd name="connsiteX0" fmla="*/ 0 w 5072694"/>
              <a:gd name="connsiteY0" fmla="*/ 0 h 2241550"/>
              <a:gd name="connsiteX1" fmla="*/ 5063169 w 5072694"/>
              <a:gd name="connsiteY1" fmla="*/ 0 h 2241550"/>
              <a:gd name="connsiteX2" fmla="*/ 5072694 w 5072694"/>
              <a:gd name="connsiteY2" fmla="*/ 2241550 h 2241550"/>
              <a:gd name="connsiteX3" fmla="*/ 1071679 w 5072694"/>
              <a:gd name="connsiteY3" fmla="*/ 2241550 h 2241550"/>
              <a:gd name="connsiteX4" fmla="*/ 0 w 5072694"/>
              <a:gd name="connsiteY4" fmla="*/ 0 h 2241550"/>
              <a:gd name="connsiteX0" fmla="*/ 0 w 5072694"/>
              <a:gd name="connsiteY0" fmla="*/ 0 h 2241550"/>
              <a:gd name="connsiteX1" fmla="*/ 5070313 w 5072694"/>
              <a:gd name="connsiteY1" fmla="*/ 0 h 2241550"/>
              <a:gd name="connsiteX2" fmla="*/ 5072694 w 5072694"/>
              <a:gd name="connsiteY2" fmla="*/ 2241550 h 2241550"/>
              <a:gd name="connsiteX3" fmla="*/ 1071679 w 5072694"/>
              <a:gd name="connsiteY3" fmla="*/ 2241550 h 2241550"/>
              <a:gd name="connsiteX4" fmla="*/ 0 w 5072694"/>
              <a:gd name="connsiteY4" fmla="*/ 0 h 2241550"/>
              <a:gd name="connsiteX0" fmla="*/ 0 w 5073097"/>
              <a:gd name="connsiteY0" fmla="*/ 0 h 2241550"/>
              <a:gd name="connsiteX1" fmla="*/ 5072889 w 5073097"/>
              <a:gd name="connsiteY1" fmla="*/ 0 h 2241550"/>
              <a:gd name="connsiteX2" fmla="*/ 5072694 w 5073097"/>
              <a:gd name="connsiteY2" fmla="*/ 2241550 h 2241550"/>
              <a:gd name="connsiteX3" fmla="*/ 1071679 w 5073097"/>
              <a:gd name="connsiteY3" fmla="*/ 2241550 h 2241550"/>
              <a:gd name="connsiteX4" fmla="*/ 0 w 5073097"/>
              <a:gd name="connsiteY4" fmla="*/ 0 h 2241550"/>
              <a:gd name="connsiteX0" fmla="*/ 0 w 5073097"/>
              <a:gd name="connsiteY0" fmla="*/ 0 h 2241550"/>
              <a:gd name="connsiteX1" fmla="*/ 5072889 w 5073097"/>
              <a:gd name="connsiteY1" fmla="*/ 0 h 2241550"/>
              <a:gd name="connsiteX2" fmla="*/ 5072694 w 5073097"/>
              <a:gd name="connsiteY2" fmla="*/ 2241550 h 2241550"/>
              <a:gd name="connsiteX3" fmla="*/ 1074255 w 5073097"/>
              <a:gd name="connsiteY3" fmla="*/ 2241550 h 2241550"/>
              <a:gd name="connsiteX4" fmla="*/ 0 w 5073097"/>
              <a:gd name="connsiteY4" fmla="*/ 0 h 2241550"/>
              <a:gd name="connsiteX0" fmla="*/ 0 w 5073097"/>
              <a:gd name="connsiteY0" fmla="*/ 0 h 2244126"/>
              <a:gd name="connsiteX1" fmla="*/ 5072889 w 5073097"/>
              <a:gd name="connsiteY1" fmla="*/ 0 h 2244126"/>
              <a:gd name="connsiteX2" fmla="*/ 5072694 w 5073097"/>
              <a:gd name="connsiteY2" fmla="*/ 2241550 h 2244126"/>
              <a:gd name="connsiteX3" fmla="*/ 1079406 w 5073097"/>
              <a:gd name="connsiteY3" fmla="*/ 2244126 h 2244126"/>
              <a:gd name="connsiteX4" fmla="*/ 0 w 5073097"/>
              <a:gd name="connsiteY4" fmla="*/ 0 h 2244126"/>
              <a:gd name="connsiteX0" fmla="*/ 0 w 5073097"/>
              <a:gd name="connsiteY0" fmla="*/ 0 h 2244126"/>
              <a:gd name="connsiteX1" fmla="*/ 5072889 w 5073097"/>
              <a:gd name="connsiteY1" fmla="*/ 0 h 2244126"/>
              <a:gd name="connsiteX2" fmla="*/ 5072694 w 5073097"/>
              <a:gd name="connsiteY2" fmla="*/ 2241550 h 2244126"/>
              <a:gd name="connsiteX3" fmla="*/ 1076831 w 5073097"/>
              <a:gd name="connsiteY3" fmla="*/ 2244126 h 2244126"/>
              <a:gd name="connsiteX4" fmla="*/ 0 w 5073097"/>
              <a:gd name="connsiteY4" fmla="*/ 0 h 2244126"/>
              <a:gd name="connsiteX0" fmla="*/ 0 w 5068334"/>
              <a:gd name="connsiteY0" fmla="*/ 0 h 2244126"/>
              <a:gd name="connsiteX1" fmla="*/ 5068126 w 5068334"/>
              <a:gd name="connsiteY1" fmla="*/ 0 h 2244126"/>
              <a:gd name="connsiteX2" fmla="*/ 5067931 w 5068334"/>
              <a:gd name="connsiteY2" fmla="*/ 2241550 h 2244126"/>
              <a:gd name="connsiteX3" fmla="*/ 1072068 w 5068334"/>
              <a:gd name="connsiteY3" fmla="*/ 2244126 h 2244126"/>
              <a:gd name="connsiteX4" fmla="*/ 0 w 5068334"/>
              <a:gd name="connsiteY4" fmla="*/ 0 h 2244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8334" h="2244126">
                <a:moveTo>
                  <a:pt x="0" y="0"/>
                </a:moveTo>
                <a:lnTo>
                  <a:pt x="5068126" y="0"/>
                </a:lnTo>
                <a:cubicBezTo>
                  <a:pt x="5068920" y="747183"/>
                  <a:pt x="5067137" y="1494367"/>
                  <a:pt x="5067931" y="2241550"/>
                </a:cubicBezTo>
                <a:lnTo>
                  <a:pt x="1072068" y="224412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Parallelogramm 20">
            <a:extLst>
              <a:ext uri="{FF2B5EF4-FFF2-40B4-BE49-F238E27FC236}">
                <a16:creationId xmlns:a16="http://schemas.microsoft.com/office/drawing/2014/main" id="{D83CB403-1553-478D-B0B0-B83B50C255D1}"/>
              </a:ext>
            </a:extLst>
          </p:cNvPr>
          <p:cNvSpPr/>
          <p:nvPr userDrawn="1"/>
        </p:nvSpPr>
        <p:spPr>
          <a:xfrm flipH="1">
            <a:off x="5147460" y="1440243"/>
            <a:ext cx="3998007" cy="664890"/>
          </a:xfrm>
          <a:custGeom>
            <a:avLst/>
            <a:gdLst>
              <a:gd name="connsiteX0" fmla="*/ 0 w 3996545"/>
              <a:gd name="connsiteY0" fmla="*/ 1382714 h 1382714"/>
              <a:gd name="connsiteX1" fmla="*/ 660605 w 3996545"/>
              <a:gd name="connsiteY1" fmla="*/ 0 h 1382714"/>
              <a:gd name="connsiteX2" fmla="*/ 3996545 w 3996545"/>
              <a:gd name="connsiteY2" fmla="*/ 0 h 1382714"/>
              <a:gd name="connsiteX3" fmla="*/ 3335940 w 3996545"/>
              <a:gd name="connsiteY3" fmla="*/ 1382714 h 1382714"/>
              <a:gd name="connsiteX4" fmla="*/ 0 w 3996545"/>
              <a:gd name="connsiteY4" fmla="*/ 1382714 h 1382714"/>
              <a:gd name="connsiteX0" fmla="*/ 1460 w 3998005"/>
              <a:gd name="connsiteY0" fmla="*/ 1382714 h 1382714"/>
              <a:gd name="connsiteX1" fmla="*/ 0 w 3998005"/>
              <a:gd name="connsiteY1" fmla="*/ 2499 h 1382714"/>
              <a:gd name="connsiteX2" fmla="*/ 3998005 w 3998005"/>
              <a:gd name="connsiteY2" fmla="*/ 0 h 1382714"/>
              <a:gd name="connsiteX3" fmla="*/ 3337400 w 3998005"/>
              <a:gd name="connsiteY3" fmla="*/ 1382714 h 1382714"/>
              <a:gd name="connsiteX4" fmla="*/ 1460 w 3998005"/>
              <a:gd name="connsiteY4" fmla="*/ 1382714 h 1382714"/>
              <a:gd name="connsiteX0" fmla="*/ 1460 w 3998005"/>
              <a:gd name="connsiteY0" fmla="*/ 1382714 h 1382714"/>
              <a:gd name="connsiteX1" fmla="*/ 0 w 3998005"/>
              <a:gd name="connsiteY1" fmla="*/ 2499 h 1382714"/>
              <a:gd name="connsiteX2" fmla="*/ 3998005 w 3998005"/>
              <a:gd name="connsiteY2" fmla="*/ 0 h 1382714"/>
              <a:gd name="connsiteX3" fmla="*/ 3337400 w 3998005"/>
              <a:gd name="connsiteY3" fmla="*/ 1382714 h 1382714"/>
              <a:gd name="connsiteX4" fmla="*/ 1460 w 3998005"/>
              <a:gd name="connsiteY4" fmla="*/ 1382714 h 1382714"/>
              <a:gd name="connsiteX0" fmla="*/ 1460 w 3998005"/>
              <a:gd name="connsiteY0" fmla="*/ 1382791 h 1382791"/>
              <a:gd name="connsiteX1" fmla="*/ 0 w 3998005"/>
              <a:gd name="connsiteY1" fmla="*/ 0 h 1382791"/>
              <a:gd name="connsiteX2" fmla="*/ 3998005 w 3998005"/>
              <a:gd name="connsiteY2" fmla="*/ 77 h 1382791"/>
              <a:gd name="connsiteX3" fmla="*/ 3337400 w 3998005"/>
              <a:gd name="connsiteY3" fmla="*/ 1382791 h 1382791"/>
              <a:gd name="connsiteX4" fmla="*/ 1460 w 3998005"/>
              <a:gd name="connsiteY4" fmla="*/ 1382791 h 1382791"/>
              <a:gd name="connsiteX0" fmla="*/ 1460 w 3998005"/>
              <a:gd name="connsiteY0" fmla="*/ 1385367 h 1385367"/>
              <a:gd name="connsiteX1" fmla="*/ 0 w 3998005"/>
              <a:gd name="connsiteY1" fmla="*/ 0 h 1385367"/>
              <a:gd name="connsiteX2" fmla="*/ 3998005 w 3998005"/>
              <a:gd name="connsiteY2" fmla="*/ 2653 h 1385367"/>
              <a:gd name="connsiteX3" fmla="*/ 3337400 w 3998005"/>
              <a:gd name="connsiteY3" fmla="*/ 1385367 h 1385367"/>
              <a:gd name="connsiteX4" fmla="*/ 1460 w 3998005"/>
              <a:gd name="connsiteY4" fmla="*/ 1385367 h 1385367"/>
              <a:gd name="connsiteX0" fmla="*/ 1460 w 3998005"/>
              <a:gd name="connsiteY0" fmla="*/ 1382791 h 1382791"/>
              <a:gd name="connsiteX1" fmla="*/ 0 w 3998005"/>
              <a:gd name="connsiteY1" fmla="*/ 0 h 1382791"/>
              <a:gd name="connsiteX2" fmla="*/ 3998005 w 3998005"/>
              <a:gd name="connsiteY2" fmla="*/ 77 h 1382791"/>
              <a:gd name="connsiteX3" fmla="*/ 3337400 w 3998005"/>
              <a:gd name="connsiteY3" fmla="*/ 1382791 h 1382791"/>
              <a:gd name="connsiteX4" fmla="*/ 1460 w 3998005"/>
              <a:gd name="connsiteY4" fmla="*/ 1382791 h 1382791"/>
              <a:gd name="connsiteX0" fmla="*/ 1460 w 3998005"/>
              <a:gd name="connsiteY0" fmla="*/ 1382791 h 1382791"/>
              <a:gd name="connsiteX1" fmla="*/ 0 w 3998005"/>
              <a:gd name="connsiteY1" fmla="*/ 0 h 1382791"/>
              <a:gd name="connsiteX2" fmla="*/ 3998005 w 3998005"/>
              <a:gd name="connsiteY2" fmla="*/ 77 h 1382791"/>
              <a:gd name="connsiteX3" fmla="*/ 3337400 w 3998005"/>
              <a:gd name="connsiteY3" fmla="*/ 1382791 h 1382791"/>
              <a:gd name="connsiteX4" fmla="*/ 1460 w 3998005"/>
              <a:gd name="connsiteY4" fmla="*/ 1382791 h 1382791"/>
              <a:gd name="connsiteX0" fmla="*/ 1460 w 3998005"/>
              <a:gd name="connsiteY0" fmla="*/ 1385366 h 1385366"/>
              <a:gd name="connsiteX1" fmla="*/ 0 w 3998005"/>
              <a:gd name="connsiteY1" fmla="*/ 0 h 1385366"/>
              <a:gd name="connsiteX2" fmla="*/ 3998005 w 3998005"/>
              <a:gd name="connsiteY2" fmla="*/ 2652 h 1385366"/>
              <a:gd name="connsiteX3" fmla="*/ 3337400 w 3998005"/>
              <a:gd name="connsiteY3" fmla="*/ 1385366 h 1385366"/>
              <a:gd name="connsiteX4" fmla="*/ 1460 w 3998005"/>
              <a:gd name="connsiteY4" fmla="*/ 1385366 h 1385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98005" h="1385366">
                <a:moveTo>
                  <a:pt x="1460" y="1385366"/>
                </a:moveTo>
                <a:cubicBezTo>
                  <a:pt x="973" y="925294"/>
                  <a:pt x="487" y="460072"/>
                  <a:pt x="0" y="0"/>
                </a:cubicBezTo>
                <a:lnTo>
                  <a:pt x="3998005" y="2652"/>
                </a:lnTo>
                <a:lnTo>
                  <a:pt x="3337400" y="1385366"/>
                </a:lnTo>
                <a:lnTo>
                  <a:pt x="1460" y="138536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23" name="Bildplatzhalter 21">
            <a:extLst>
              <a:ext uri="{FF2B5EF4-FFF2-40B4-BE49-F238E27FC236}">
                <a16:creationId xmlns:a16="http://schemas.microsoft.com/office/drawing/2014/main" id="{E2B3A810-C844-4418-AF20-CD01E7DF013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0719" y="365714"/>
            <a:ext cx="4401130" cy="1075806"/>
          </a:xfrm>
          <a:custGeom>
            <a:avLst/>
            <a:gdLst>
              <a:gd name="connsiteX0" fmla="*/ 0 w 4401131"/>
              <a:gd name="connsiteY0" fmla="*/ 0 h 2241550"/>
              <a:gd name="connsiteX1" fmla="*/ 4401131 w 4401131"/>
              <a:gd name="connsiteY1" fmla="*/ 0 h 2241550"/>
              <a:gd name="connsiteX2" fmla="*/ 4401131 w 4401131"/>
              <a:gd name="connsiteY2" fmla="*/ 2241550 h 2241550"/>
              <a:gd name="connsiteX3" fmla="*/ 0 w 4401131"/>
              <a:gd name="connsiteY3" fmla="*/ 2241550 h 2241550"/>
              <a:gd name="connsiteX4" fmla="*/ 0 w 4401131"/>
              <a:gd name="connsiteY4" fmla="*/ 0 h 2241550"/>
              <a:gd name="connsiteX0" fmla="*/ 0 w 4401131"/>
              <a:gd name="connsiteY0" fmla="*/ 0 h 2241550"/>
              <a:gd name="connsiteX1" fmla="*/ 3334775 w 4401131"/>
              <a:gd name="connsiteY1" fmla="*/ 0 h 2241550"/>
              <a:gd name="connsiteX2" fmla="*/ 4401131 w 4401131"/>
              <a:gd name="connsiteY2" fmla="*/ 2241550 h 2241550"/>
              <a:gd name="connsiteX3" fmla="*/ 0 w 4401131"/>
              <a:gd name="connsiteY3" fmla="*/ 2241550 h 2241550"/>
              <a:gd name="connsiteX4" fmla="*/ 0 w 4401131"/>
              <a:gd name="connsiteY4" fmla="*/ 0 h 2241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1131" h="2241550">
                <a:moveTo>
                  <a:pt x="0" y="0"/>
                </a:moveTo>
                <a:lnTo>
                  <a:pt x="3334775" y="0"/>
                </a:lnTo>
                <a:lnTo>
                  <a:pt x="4401131" y="2241550"/>
                </a:lnTo>
                <a:lnTo>
                  <a:pt x="0" y="224155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Parallelogramm 19">
            <a:extLst>
              <a:ext uri="{FF2B5EF4-FFF2-40B4-BE49-F238E27FC236}">
                <a16:creationId xmlns:a16="http://schemas.microsoft.com/office/drawing/2014/main" id="{05F37096-C0B7-49A6-9DDE-C38BDC558E57}"/>
              </a:ext>
            </a:extLst>
          </p:cNvPr>
          <p:cNvSpPr/>
          <p:nvPr userDrawn="1"/>
        </p:nvSpPr>
        <p:spPr>
          <a:xfrm flipH="1">
            <a:off x="688978" y="1441523"/>
            <a:ext cx="5064910" cy="663617"/>
          </a:xfrm>
          <a:custGeom>
            <a:avLst/>
            <a:gdLst>
              <a:gd name="connsiteX0" fmla="*/ 0 w 5069672"/>
              <a:gd name="connsiteY0" fmla="*/ 1382713 h 1382713"/>
              <a:gd name="connsiteX1" fmla="*/ 660605 w 5069672"/>
              <a:gd name="connsiteY1" fmla="*/ 0 h 1382713"/>
              <a:gd name="connsiteX2" fmla="*/ 5069672 w 5069672"/>
              <a:gd name="connsiteY2" fmla="*/ 0 h 1382713"/>
              <a:gd name="connsiteX3" fmla="*/ 4409067 w 5069672"/>
              <a:gd name="connsiteY3" fmla="*/ 1382713 h 1382713"/>
              <a:gd name="connsiteX4" fmla="*/ 0 w 5069672"/>
              <a:gd name="connsiteY4" fmla="*/ 1382713 h 1382713"/>
              <a:gd name="connsiteX0" fmla="*/ 0 w 5069672"/>
              <a:gd name="connsiteY0" fmla="*/ 1382713 h 1382713"/>
              <a:gd name="connsiteX1" fmla="*/ 660605 w 5069672"/>
              <a:gd name="connsiteY1" fmla="*/ 0 h 1382713"/>
              <a:gd name="connsiteX2" fmla="*/ 5069672 w 5069672"/>
              <a:gd name="connsiteY2" fmla="*/ 0 h 1382713"/>
              <a:gd name="connsiteX3" fmla="*/ 5063911 w 5069672"/>
              <a:gd name="connsiteY3" fmla="*/ 1380332 h 1382713"/>
              <a:gd name="connsiteX4" fmla="*/ 0 w 5069672"/>
              <a:gd name="connsiteY4" fmla="*/ 1382713 h 1382713"/>
              <a:gd name="connsiteX0" fmla="*/ 0 w 5064910"/>
              <a:gd name="connsiteY0" fmla="*/ 1382713 h 1382713"/>
              <a:gd name="connsiteX1" fmla="*/ 660605 w 5064910"/>
              <a:gd name="connsiteY1" fmla="*/ 0 h 1382713"/>
              <a:gd name="connsiteX2" fmla="*/ 5064910 w 5064910"/>
              <a:gd name="connsiteY2" fmla="*/ 0 h 1382713"/>
              <a:gd name="connsiteX3" fmla="*/ 5063911 w 5064910"/>
              <a:gd name="connsiteY3" fmla="*/ 1380332 h 1382713"/>
              <a:gd name="connsiteX4" fmla="*/ 0 w 5064910"/>
              <a:gd name="connsiteY4" fmla="*/ 1382713 h 138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4910" h="1382713">
                <a:moveTo>
                  <a:pt x="0" y="1382713"/>
                </a:moveTo>
                <a:lnTo>
                  <a:pt x="660605" y="0"/>
                </a:lnTo>
                <a:lnTo>
                  <a:pt x="5064910" y="0"/>
                </a:lnTo>
                <a:cubicBezTo>
                  <a:pt x="5062990" y="460111"/>
                  <a:pt x="5065831" y="920221"/>
                  <a:pt x="5063911" y="1380332"/>
                </a:cubicBezTo>
                <a:lnTo>
                  <a:pt x="0" y="138271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FBCD15C0-0903-4F0D-B02A-624F6D64B5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9043" y="1573261"/>
            <a:ext cx="410607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31" name="Textplatzhalter 26">
            <a:extLst>
              <a:ext uri="{FF2B5EF4-FFF2-40B4-BE49-F238E27FC236}">
                <a16:creationId xmlns:a16="http://schemas.microsoft.com/office/drawing/2014/main" id="{EBB16E9B-0BFA-4147-BF9B-1621103B63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7685" y="1573261"/>
            <a:ext cx="319716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CF1CE939-EDBF-4C40-819A-43D37F2B5C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39044" y="1685074"/>
            <a:ext cx="4106071" cy="299232"/>
          </a:xfrm>
          <a:prstGeom prst="rect">
            <a:avLst/>
          </a:prstGeom>
        </p:spPr>
        <p:txBody>
          <a:bodyPr lIns="0" tIns="0" rIns="0" bIns="0"/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889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0" name="Textplatzhalter 35">
            <a:extLst>
              <a:ext uri="{FF2B5EF4-FFF2-40B4-BE49-F238E27FC236}">
                <a16:creationId xmlns:a16="http://schemas.microsoft.com/office/drawing/2014/main" id="{CEBC62FB-9854-48A6-A95F-B64B2E209F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01731" y="1685075"/>
            <a:ext cx="308931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9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35">
            <a:extLst>
              <a:ext uri="{FF2B5EF4-FFF2-40B4-BE49-F238E27FC236}">
                <a16:creationId xmlns:a16="http://schemas.microsoft.com/office/drawing/2014/main" id="{7F10253B-7E90-4D23-B119-099955D9B99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897540" y="1798120"/>
            <a:ext cx="299242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9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Textplatzhalter 35">
            <a:extLst>
              <a:ext uri="{FF2B5EF4-FFF2-40B4-BE49-F238E27FC236}">
                <a16:creationId xmlns:a16="http://schemas.microsoft.com/office/drawing/2014/main" id="{94C82AD6-A493-4748-9178-9562D5DD6F1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23186" y="1907522"/>
            <a:ext cx="286536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89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9A72B995-0D23-455A-8266-D696BCC168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946308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8" userDrawn="1">
          <p15:clr>
            <a:srgbClr val="FBAE40"/>
          </p15:clr>
        </p15:guide>
        <p15:guide id="2" orient="horz" pos="991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858280BA-5DAF-4239-8C96-0E00F2969D39}"/>
              </a:ext>
            </a:extLst>
          </p:cNvPr>
          <p:cNvSpPr/>
          <p:nvPr userDrawn="1"/>
        </p:nvSpPr>
        <p:spPr>
          <a:xfrm>
            <a:off x="2051054" y="363427"/>
            <a:ext cx="2812809" cy="84517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4213" y="363427"/>
            <a:ext cx="1366838" cy="84517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7" name="Textplatzhalter 26">
            <a:extLst>
              <a:ext uri="{FF2B5EF4-FFF2-40B4-BE49-F238E27FC236}">
                <a16:creationId xmlns:a16="http://schemas.microsoft.com/office/drawing/2014/main" id="{5320B77E-2B58-4BE6-82A4-68EE846607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10339" y="621161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CE06CBF7-8546-4EEE-A38E-7DF26CFD9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10337" y="755143"/>
            <a:ext cx="2271717" cy="2338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C9D460D-EDA8-483E-B4D3-69922B442037}"/>
              </a:ext>
            </a:extLst>
          </p:cNvPr>
          <p:cNvSpPr/>
          <p:nvPr userDrawn="1"/>
        </p:nvSpPr>
        <p:spPr>
          <a:xfrm>
            <a:off x="2051054" y="1259965"/>
            <a:ext cx="2812809" cy="84517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32" name="Bildplatzhalter 4">
            <a:extLst>
              <a:ext uri="{FF2B5EF4-FFF2-40B4-BE49-F238E27FC236}">
                <a16:creationId xmlns:a16="http://schemas.microsoft.com/office/drawing/2014/main" id="{5E8E2BFE-2BB0-4499-BEEE-6270E3B5F24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84213" y="1259965"/>
            <a:ext cx="1366838" cy="84517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3" name="Textplatzhalter 26">
            <a:extLst>
              <a:ext uri="{FF2B5EF4-FFF2-40B4-BE49-F238E27FC236}">
                <a16:creationId xmlns:a16="http://schemas.microsoft.com/office/drawing/2014/main" id="{0B884043-C75F-4A8E-831F-57A0E1E33C9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10339" y="1517700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34" name="Textplatzhalter 35">
            <a:extLst>
              <a:ext uri="{FF2B5EF4-FFF2-40B4-BE49-F238E27FC236}">
                <a16:creationId xmlns:a16="http://schemas.microsoft.com/office/drawing/2014/main" id="{11F960EE-CCBB-4852-9A1B-24F0556CA4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10337" y="1651682"/>
            <a:ext cx="2271717" cy="2338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924E695-160F-425A-9C69-6AFF9551679F}"/>
              </a:ext>
            </a:extLst>
          </p:cNvPr>
          <p:cNvSpPr/>
          <p:nvPr userDrawn="1"/>
        </p:nvSpPr>
        <p:spPr>
          <a:xfrm>
            <a:off x="6334128" y="363427"/>
            <a:ext cx="2809877" cy="84517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967290" y="363427"/>
            <a:ext cx="1366838" cy="84517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9" name="Textplatzhalter 26">
            <a:extLst>
              <a:ext uri="{FF2B5EF4-FFF2-40B4-BE49-F238E27FC236}">
                <a16:creationId xmlns:a16="http://schemas.microsoft.com/office/drawing/2014/main" id="{D2F29D40-13C9-41FB-AFFA-85491C009E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599246" y="621161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60" name="Textplatzhalter 35">
            <a:extLst>
              <a:ext uri="{FF2B5EF4-FFF2-40B4-BE49-F238E27FC236}">
                <a16:creationId xmlns:a16="http://schemas.microsoft.com/office/drawing/2014/main" id="{E677340F-EF6D-40A1-B272-E825C63153B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99240" y="755143"/>
            <a:ext cx="2271717" cy="2338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31316428-BBAD-4650-8430-0B440D1391C9}"/>
              </a:ext>
            </a:extLst>
          </p:cNvPr>
          <p:cNvSpPr/>
          <p:nvPr userDrawn="1"/>
        </p:nvSpPr>
        <p:spPr>
          <a:xfrm>
            <a:off x="6334128" y="1259965"/>
            <a:ext cx="2809877" cy="84517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62" name="Bildplatzhalter 4">
            <a:extLst>
              <a:ext uri="{FF2B5EF4-FFF2-40B4-BE49-F238E27FC236}">
                <a16:creationId xmlns:a16="http://schemas.microsoft.com/office/drawing/2014/main" id="{457BB239-3FDE-4AA9-8F78-3A25A953B73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967290" y="1259965"/>
            <a:ext cx="1366838" cy="84517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3" name="Textplatzhalter 26">
            <a:extLst>
              <a:ext uri="{FF2B5EF4-FFF2-40B4-BE49-F238E27FC236}">
                <a16:creationId xmlns:a16="http://schemas.microsoft.com/office/drawing/2014/main" id="{088108A6-84F7-4B20-914D-18C953F46B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599246" y="1517700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64" name="Textplatzhalter 35">
            <a:extLst>
              <a:ext uri="{FF2B5EF4-FFF2-40B4-BE49-F238E27FC236}">
                <a16:creationId xmlns:a16="http://schemas.microsoft.com/office/drawing/2014/main" id="{C9B1DB20-4664-456E-8599-00A1A0D8E3A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599240" y="1651682"/>
            <a:ext cx="2271717" cy="2338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745670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62" userDrawn="1">
          <p15:clr>
            <a:srgbClr val="FBAE40"/>
          </p15:clr>
        </p15:guide>
        <p15:guide id="2" pos="312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F4AA879E-CD1B-4468-A60F-22BD5B2EE865}"/>
              </a:ext>
            </a:extLst>
          </p:cNvPr>
          <p:cNvSpPr/>
          <p:nvPr userDrawn="1"/>
        </p:nvSpPr>
        <p:spPr>
          <a:xfrm>
            <a:off x="2051054" y="363427"/>
            <a:ext cx="2817091" cy="5459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5265D3A-CBD7-405C-A37D-5E66050AB1EF}"/>
              </a:ext>
            </a:extLst>
          </p:cNvPr>
          <p:cNvSpPr/>
          <p:nvPr userDrawn="1"/>
        </p:nvSpPr>
        <p:spPr>
          <a:xfrm>
            <a:off x="2051054" y="960869"/>
            <a:ext cx="2817091" cy="5459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E9C4F868-3250-4423-8B9E-5F8B50631071}"/>
              </a:ext>
            </a:extLst>
          </p:cNvPr>
          <p:cNvSpPr/>
          <p:nvPr userDrawn="1"/>
        </p:nvSpPr>
        <p:spPr>
          <a:xfrm>
            <a:off x="2051054" y="1558032"/>
            <a:ext cx="2817091" cy="5459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8CB0365-18B1-40F2-A76D-29F0015D251A}"/>
              </a:ext>
            </a:extLst>
          </p:cNvPr>
          <p:cNvSpPr/>
          <p:nvPr userDrawn="1"/>
        </p:nvSpPr>
        <p:spPr>
          <a:xfrm>
            <a:off x="6326913" y="363427"/>
            <a:ext cx="2817091" cy="5459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AE5BEFE-9AF2-450E-8E6E-510CB2A6EE65}"/>
              </a:ext>
            </a:extLst>
          </p:cNvPr>
          <p:cNvSpPr/>
          <p:nvPr userDrawn="1"/>
        </p:nvSpPr>
        <p:spPr>
          <a:xfrm>
            <a:off x="6326913" y="960869"/>
            <a:ext cx="2817091" cy="5459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532714C-D0F4-4841-AA96-082F4443C357}"/>
              </a:ext>
            </a:extLst>
          </p:cNvPr>
          <p:cNvSpPr/>
          <p:nvPr userDrawn="1"/>
        </p:nvSpPr>
        <p:spPr>
          <a:xfrm>
            <a:off x="6326913" y="1558032"/>
            <a:ext cx="2817091" cy="5459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4213" y="363426"/>
            <a:ext cx="1366838" cy="54597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967290" y="363426"/>
            <a:ext cx="1366838" cy="54597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  <p:sp>
        <p:nvSpPr>
          <p:cNvPr id="47" name="Bildplatzhalter 4">
            <a:extLst>
              <a:ext uri="{FF2B5EF4-FFF2-40B4-BE49-F238E27FC236}">
                <a16:creationId xmlns:a16="http://schemas.microsoft.com/office/drawing/2014/main" id="{07436F7D-C42A-4B42-889D-8F3CFB682236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84213" y="960869"/>
            <a:ext cx="1366838" cy="54597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8" name="Bildplatzhalter 4">
            <a:extLst>
              <a:ext uri="{FF2B5EF4-FFF2-40B4-BE49-F238E27FC236}">
                <a16:creationId xmlns:a16="http://schemas.microsoft.com/office/drawing/2014/main" id="{28446AB4-B53E-430D-9190-48E2FB34F01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84213" y="1558032"/>
            <a:ext cx="1366838" cy="54597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3B14132C-77AE-4C9D-BAAD-5BB7940DBE4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967290" y="960589"/>
            <a:ext cx="1366838" cy="54597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0" name="Bildplatzhalter 4">
            <a:extLst>
              <a:ext uri="{FF2B5EF4-FFF2-40B4-BE49-F238E27FC236}">
                <a16:creationId xmlns:a16="http://schemas.microsoft.com/office/drawing/2014/main" id="{34B39398-958C-4AF2-A083-99F4F4C208C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967290" y="1558032"/>
            <a:ext cx="1366838" cy="54597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3" name="Textplatzhalter 26">
            <a:extLst>
              <a:ext uri="{FF2B5EF4-FFF2-40B4-BE49-F238E27FC236}">
                <a16:creationId xmlns:a16="http://schemas.microsoft.com/office/drawing/2014/main" id="{94AB9309-EAA5-49B4-B82F-1BD77C727A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10339" y="491333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54" name="Textplatzhalter 35">
            <a:extLst>
              <a:ext uri="{FF2B5EF4-FFF2-40B4-BE49-F238E27FC236}">
                <a16:creationId xmlns:a16="http://schemas.microsoft.com/office/drawing/2014/main" id="{DA8DC389-8A12-4DA3-8CAB-A4D198C79B3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10337" y="625314"/>
            <a:ext cx="2271717" cy="2338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7" name="Textplatzhalter 26">
            <a:extLst>
              <a:ext uri="{FF2B5EF4-FFF2-40B4-BE49-F238E27FC236}">
                <a16:creationId xmlns:a16="http://schemas.microsoft.com/office/drawing/2014/main" id="{816796D7-B715-4770-975E-8A696C5B7B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10339" y="1088776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58" name="Textplatzhalter 35">
            <a:extLst>
              <a:ext uri="{FF2B5EF4-FFF2-40B4-BE49-F238E27FC236}">
                <a16:creationId xmlns:a16="http://schemas.microsoft.com/office/drawing/2014/main" id="{B7979116-26BA-485F-84A0-65C2388FA62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10337" y="1222756"/>
            <a:ext cx="2271717" cy="2338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7" name="Textplatzhalter 26">
            <a:extLst>
              <a:ext uri="{FF2B5EF4-FFF2-40B4-BE49-F238E27FC236}">
                <a16:creationId xmlns:a16="http://schemas.microsoft.com/office/drawing/2014/main" id="{C21D983A-0D4C-4D00-B111-735954A2961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310339" y="1685936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68" name="Textplatzhalter 35">
            <a:extLst>
              <a:ext uri="{FF2B5EF4-FFF2-40B4-BE49-F238E27FC236}">
                <a16:creationId xmlns:a16="http://schemas.microsoft.com/office/drawing/2014/main" id="{02B9B515-5674-4464-BA68-1229D9DDF19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310337" y="1819918"/>
            <a:ext cx="2271717" cy="2338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75" name="Textplatzhalter 26">
            <a:extLst>
              <a:ext uri="{FF2B5EF4-FFF2-40B4-BE49-F238E27FC236}">
                <a16:creationId xmlns:a16="http://schemas.microsoft.com/office/drawing/2014/main" id="{5830621B-BA92-4785-A83E-285D5C38D1C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582651" y="491333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76" name="Textplatzhalter 35">
            <a:extLst>
              <a:ext uri="{FF2B5EF4-FFF2-40B4-BE49-F238E27FC236}">
                <a16:creationId xmlns:a16="http://schemas.microsoft.com/office/drawing/2014/main" id="{598166D4-495B-4114-91E9-3343EF5B392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582648" y="625314"/>
            <a:ext cx="2271717" cy="2338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77" name="Textplatzhalter 26">
            <a:extLst>
              <a:ext uri="{FF2B5EF4-FFF2-40B4-BE49-F238E27FC236}">
                <a16:creationId xmlns:a16="http://schemas.microsoft.com/office/drawing/2014/main" id="{F428F419-263B-4872-892E-D6ECAF867C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82651" y="1088776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78" name="Textplatzhalter 35">
            <a:extLst>
              <a:ext uri="{FF2B5EF4-FFF2-40B4-BE49-F238E27FC236}">
                <a16:creationId xmlns:a16="http://schemas.microsoft.com/office/drawing/2014/main" id="{C081683D-5F61-4838-9654-F36D733085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82648" y="1222756"/>
            <a:ext cx="2271717" cy="2338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79" name="Textplatzhalter 26">
            <a:extLst>
              <a:ext uri="{FF2B5EF4-FFF2-40B4-BE49-F238E27FC236}">
                <a16:creationId xmlns:a16="http://schemas.microsoft.com/office/drawing/2014/main" id="{C83575E6-3737-4178-8E0F-8084568DA77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82651" y="1685936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80" name="Textplatzhalter 35">
            <a:extLst>
              <a:ext uri="{FF2B5EF4-FFF2-40B4-BE49-F238E27FC236}">
                <a16:creationId xmlns:a16="http://schemas.microsoft.com/office/drawing/2014/main" id="{0AC2C41F-DE75-49A7-8D8E-14310ECE758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582648" y="1819918"/>
            <a:ext cx="2271717" cy="2338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70826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62" userDrawn="1">
          <p15:clr>
            <a:srgbClr val="FBAE40"/>
          </p15:clr>
        </p15:guide>
        <p15:guide id="2" pos="312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26E64995-10B5-442B-80F9-C43858D8CBD7}"/>
              </a:ext>
            </a:extLst>
          </p:cNvPr>
          <p:cNvSpPr/>
          <p:nvPr userDrawn="1"/>
        </p:nvSpPr>
        <p:spPr>
          <a:xfrm>
            <a:off x="2051054" y="363432"/>
            <a:ext cx="2812809" cy="3973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 fontScale="77500" lnSpcReduction="20000"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ABAA7624-496F-4F89-817D-8AF0714308FC}"/>
              </a:ext>
            </a:extLst>
          </p:cNvPr>
          <p:cNvSpPr/>
          <p:nvPr userDrawn="1"/>
        </p:nvSpPr>
        <p:spPr>
          <a:xfrm>
            <a:off x="2051054" y="811211"/>
            <a:ext cx="2812809" cy="3973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 fontScale="77500" lnSpcReduction="20000"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258E32BA-BE0C-4488-B8EB-732F6128967B}"/>
              </a:ext>
            </a:extLst>
          </p:cNvPr>
          <p:cNvSpPr/>
          <p:nvPr userDrawn="1"/>
        </p:nvSpPr>
        <p:spPr>
          <a:xfrm>
            <a:off x="2051054" y="1257979"/>
            <a:ext cx="2812809" cy="3973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 fontScale="77500" lnSpcReduction="20000"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ED833DA5-F35F-4F65-BED5-F05C52F2BC6F}"/>
              </a:ext>
            </a:extLst>
          </p:cNvPr>
          <p:cNvSpPr/>
          <p:nvPr userDrawn="1"/>
        </p:nvSpPr>
        <p:spPr>
          <a:xfrm>
            <a:off x="2051054" y="1707749"/>
            <a:ext cx="2812809" cy="3973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 fontScale="77500" lnSpcReduction="20000"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B9FCAF0B-1160-4607-A5DB-B6DA4D3B6132}"/>
              </a:ext>
            </a:extLst>
          </p:cNvPr>
          <p:cNvSpPr/>
          <p:nvPr userDrawn="1"/>
        </p:nvSpPr>
        <p:spPr>
          <a:xfrm>
            <a:off x="6334128" y="363432"/>
            <a:ext cx="2812809" cy="3973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 fontScale="77500" lnSpcReduction="20000"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4AA3BDD-7D99-47C9-8C58-0BEE4016B552}"/>
              </a:ext>
            </a:extLst>
          </p:cNvPr>
          <p:cNvSpPr/>
          <p:nvPr userDrawn="1"/>
        </p:nvSpPr>
        <p:spPr>
          <a:xfrm>
            <a:off x="6334128" y="811211"/>
            <a:ext cx="2812809" cy="3973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 fontScale="77500" lnSpcReduction="20000"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FDE5A96-3738-4FFA-9E5A-CFEFD87EAD10}"/>
              </a:ext>
            </a:extLst>
          </p:cNvPr>
          <p:cNvSpPr/>
          <p:nvPr userDrawn="1"/>
        </p:nvSpPr>
        <p:spPr>
          <a:xfrm>
            <a:off x="6334128" y="1257979"/>
            <a:ext cx="2812809" cy="3973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 fontScale="77500" lnSpcReduction="20000"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BD7D16A5-7872-425B-BB1F-C614C018A3DC}"/>
              </a:ext>
            </a:extLst>
          </p:cNvPr>
          <p:cNvSpPr/>
          <p:nvPr userDrawn="1"/>
        </p:nvSpPr>
        <p:spPr>
          <a:xfrm>
            <a:off x="6334128" y="1707749"/>
            <a:ext cx="2812809" cy="3973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 fontScale="77500" lnSpcReduction="20000"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4213" y="363432"/>
            <a:ext cx="1366838" cy="39540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  <p:sp>
        <p:nvSpPr>
          <p:cNvPr id="73" name="Bildplatzhalter 4">
            <a:extLst>
              <a:ext uri="{FF2B5EF4-FFF2-40B4-BE49-F238E27FC236}">
                <a16:creationId xmlns:a16="http://schemas.microsoft.com/office/drawing/2014/main" id="{6A119193-1F71-4BEC-B026-63FF8344E9F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84213" y="813200"/>
            <a:ext cx="1366838" cy="39540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4" name="Bildplatzhalter 4">
            <a:extLst>
              <a:ext uri="{FF2B5EF4-FFF2-40B4-BE49-F238E27FC236}">
                <a16:creationId xmlns:a16="http://schemas.microsoft.com/office/drawing/2014/main" id="{22F3C23B-A1A0-44C1-8B1A-16C96C4FEE0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84213" y="1259970"/>
            <a:ext cx="1366838" cy="39540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1" name="Bildplatzhalter 4">
            <a:extLst>
              <a:ext uri="{FF2B5EF4-FFF2-40B4-BE49-F238E27FC236}">
                <a16:creationId xmlns:a16="http://schemas.microsoft.com/office/drawing/2014/main" id="{31D9F732-278E-4335-A997-3A9B0B4FBB53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84213" y="1709738"/>
            <a:ext cx="1366838" cy="39540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2" name="Bildplatzhalter 4">
            <a:extLst>
              <a:ext uri="{FF2B5EF4-FFF2-40B4-BE49-F238E27FC236}">
                <a16:creationId xmlns:a16="http://schemas.microsoft.com/office/drawing/2014/main" id="{F5834584-CCAA-4ACA-AC78-11410558842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4967290" y="363432"/>
            <a:ext cx="1366838" cy="39540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3" name="Bildplatzhalter 4">
            <a:extLst>
              <a:ext uri="{FF2B5EF4-FFF2-40B4-BE49-F238E27FC236}">
                <a16:creationId xmlns:a16="http://schemas.microsoft.com/office/drawing/2014/main" id="{2935FB01-471E-4B44-8FD1-C9C8C6AEEDC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4967290" y="812208"/>
            <a:ext cx="1366838" cy="39540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4" name="Bildplatzhalter 4">
            <a:extLst>
              <a:ext uri="{FF2B5EF4-FFF2-40B4-BE49-F238E27FC236}">
                <a16:creationId xmlns:a16="http://schemas.microsoft.com/office/drawing/2014/main" id="{819355A9-47BE-45EF-90CD-ADBB16456C5B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4967290" y="1258976"/>
            <a:ext cx="1366838" cy="39540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5" name="Bildplatzhalter 4">
            <a:extLst>
              <a:ext uri="{FF2B5EF4-FFF2-40B4-BE49-F238E27FC236}">
                <a16:creationId xmlns:a16="http://schemas.microsoft.com/office/drawing/2014/main" id="{5F5BA631-97BF-4FA7-8C3E-A3D9218C7CA5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4967290" y="1707750"/>
            <a:ext cx="1366838" cy="39540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8" name="Textplatzhalter 26">
            <a:extLst>
              <a:ext uri="{FF2B5EF4-FFF2-40B4-BE49-F238E27FC236}">
                <a16:creationId xmlns:a16="http://schemas.microsoft.com/office/drawing/2014/main" id="{CD59616B-333E-48E7-AC05-F0B13D3AE12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10339" y="410818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89" name="Textplatzhalter 35">
            <a:extLst>
              <a:ext uri="{FF2B5EF4-FFF2-40B4-BE49-F238E27FC236}">
                <a16:creationId xmlns:a16="http://schemas.microsoft.com/office/drawing/2014/main" id="{73C5EE01-AC79-4E21-BED3-9F2F5EE979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10337" y="544797"/>
            <a:ext cx="2271717" cy="168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92" name="Textplatzhalter 26">
            <a:extLst>
              <a:ext uri="{FF2B5EF4-FFF2-40B4-BE49-F238E27FC236}">
                <a16:creationId xmlns:a16="http://schemas.microsoft.com/office/drawing/2014/main" id="{CC9232A2-FEFA-44D6-AEA8-80D4370C493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310339" y="860790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93" name="Textplatzhalter 35">
            <a:extLst>
              <a:ext uri="{FF2B5EF4-FFF2-40B4-BE49-F238E27FC236}">
                <a16:creationId xmlns:a16="http://schemas.microsoft.com/office/drawing/2014/main" id="{828DF350-00BC-4951-B663-EE72A944278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310337" y="994770"/>
            <a:ext cx="2271717" cy="168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99" name="Textplatzhalter 26">
            <a:extLst>
              <a:ext uri="{FF2B5EF4-FFF2-40B4-BE49-F238E27FC236}">
                <a16:creationId xmlns:a16="http://schemas.microsoft.com/office/drawing/2014/main" id="{41FC561B-1E90-4793-8A60-04861C3893F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10339" y="1306595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100" name="Textplatzhalter 35">
            <a:extLst>
              <a:ext uri="{FF2B5EF4-FFF2-40B4-BE49-F238E27FC236}">
                <a16:creationId xmlns:a16="http://schemas.microsoft.com/office/drawing/2014/main" id="{A825FB20-9F0A-4585-BAAB-AEA01864419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10337" y="1440577"/>
            <a:ext cx="2271717" cy="168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03" name="Textplatzhalter 26">
            <a:extLst>
              <a:ext uri="{FF2B5EF4-FFF2-40B4-BE49-F238E27FC236}">
                <a16:creationId xmlns:a16="http://schemas.microsoft.com/office/drawing/2014/main" id="{E5A26FED-5593-4616-B08B-7AA16B1654B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310339" y="1755273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104" name="Textplatzhalter 35">
            <a:extLst>
              <a:ext uri="{FF2B5EF4-FFF2-40B4-BE49-F238E27FC236}">
                <a16:creationId xmlns:a16="http://schemas.microsoft.com/office/drawing/2014/main" id="{BBD7BA9E-7FB4-42E3-8E46-4355C274D84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310337" y="1889253"/>
            <a:ext cx="2271717" cy="168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3" name="Textplatzhalter 26">
            <a:extLst>
              <a:ext uri="{FF2B5EF4-FFF2-40B4-BE49-F238E27FC236}">
                <a16:creationId xmlns:a16="http://schemas.microsoft.com/office/drawing/2014/main" id="{C4F7318B-4A5B-4D28-8D24-2A397F7226C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593415" y="410818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114" name="Textplatzhalter 35">
            <a:extLst>
              <a:ext uri="{FF2B5EF4-FFF2-40B4-BE49-F238E27FC236}">
                <a16:creationId xmlns:a16="http://schemas.microsoft.com/office/drawing/2014/main" id="{ED6A3286-BBAA-49CF-A071-7BBC921B69B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593409" y="544797"/>
            <a:ext cx="2271717" cy="168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5" name="Textplatzhalter 26">
            <a:extLst>
              <a:ext uri="{FF2B5EF4-FFF2-40B4-BE49-F238E27FC236}">
                <a16:creationId xmlns:a16="http://schemas.microsoft.com/office/drawing/2014/main" id="{93A1C177-A3A7-4E73-82B2-FBF3769C37E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93415" y="860790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116" name="Textplatzhalter 35">
            <a:extLst>
              <a:ext uri="{FF2B5EF4-FFF2-40B4-BE49-F238E27FC236}">
                <a16:creationId xmlns:a16="http://schemas.microsoft.com/office/drawing/2014/main" id="{3D6E6D89-B105-45BA-A727-DC6E3AD9D3D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93409" y="994770"/>
            <a:ext cx="2271717" cy="168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7" name="Textplatzhalter 26">
            <a:extLst>
              <a:ext uri="{FF2B5EF4-FFF2-40B4-BE49-F238E27FC236}">
                <a16:creationId xmlns:a16="http://schemas.microsoft.com/office/drawing/2014/main" id="{98A16870-2F6E-4901-8F72-6C9038A1AAA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93415" y="1306595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118" name="Textplatzhalter 35">
            <a:extLst>
              <a:ext uri="{FF2B5EF4-FFF2-40B4-BE49-F238E27FC236}">
                <a16:creationId xmlns:a16="http://schemas.microsoft.com/office/drawing/2014/main" id="{84309BD9-C1CA-45A0-B75B-1559199CDA3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93409" y="1440577"/>
            <a:ext cx="2271717" cy="168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9" name="Textplatzhalter 26">
            <a:extLst>
              <a:ext uri="{FF2B5EF4-FFF2-40B4-BE49-F238E27FC236}">
                <a16:creationId xmlns:a16="http://schemas.microsoft.com/office/drawing/2014/main" id="{5B3A3F24-EFFA-4025-A18F-EAB8C2F5720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593415" y="1755273"/>
            <a:ext cx="227526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120" name="Textplatzhalter 35">
            <a:extLst>
              <a:ext uri="{FF2B5EF4-FFF2-40B4-BE49-F238E27FC236}">
                <a16:creationId xmlns:a16="http://schemas.microsoft.com/office/drawing/2014/main" id="{AD1A3435-A68F-46F8-BE9E-3F5774E56D5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593409" y="1889253"/>
            <a:ext cx="2271717" cy="168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54278" marR="0" indent="-254278" algn="l" defTabSz="135614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6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35173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62" userDrawn="1">
          <p15:clr>
            <a:srgbClr val="FBAE40"/>
          </p15:clr>
        </p15:guide>
        <p15:guide id="2" pos="312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6 x Bild &amp; Überschrift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848B1AE4-3FBC-4B4C-BFB5-C32DF070AE47}"/>
              </a:ext>
            </a:extLst>
          </p:cNvPr>
          <p:cNvSpPr/>
          <p:nvPr userDrawn="1"/>
        </p:nvSpPr>
        <p:spPr>
          <a:xfrm>
            <a:off x="684216" y="363428"/>
            <a:ext cx="8459788" cy="174170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29194AB9-E749-4A87-8E15-1D9DEC356B3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89430" y="598942"/>
            <a:ext cx="2725282" cy="63534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7" name="Bildplatzhalter 8">
            <a:extLst>
              <a:ext uri="{FF2B5EF4-FFF2-40B4-BE49-F238E27FC236}">
                <a16:creationId xmlns:a16="http://schemas.microsoft.com/office/drawing/2014/main" id="{50B56F4E-0BFA-4920-B730-DA8980EEF5E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554010" y="598942"/>
            <a:ext cx="2720198" cy="63534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8" name="Bildplatzhalter 8">
            <a:extLst>
              <a:ext uri="{FF2B5EF4-FFF2-40B4-BE49-F238E27FC236}">
                <a16:creationId xmlns:a16="http://schemas.microsoft.com/office/drawing/2014/main" id="{59197E5E-CAA6-4798-9991-C64041E0A74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423803" y="598942"/>
            <a:ext cx="2720198" cy="63534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3" name="Bildplatzhalter 8">
            <a:extLst>
              <a:ext uri="{FF2B5EF4-FFF2-40B4-BE49-F238E27FC236}">
                <a16:creationId xmlns:a16="http://schemas.microsoft.com/office/drawing/2014/main" id="{B41E54FF-4CEB-4DE2-A6DD-74E413EA421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89430" y="1470331"/>
            <a:ext cx="2725282" cy="63534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4" name="Bildplatzhalter 8">
            <a:extLst>
              <a:ext uri="{FF2B5EF4-FFF2-40B4-BE49-F238E27FC236}">
                <a16:creationId xmlns:a16="http://schemas.microsoft.com/office/drawing/2014/main" id="{5DB70E1B-DF22-40D3-9FE7-5F80AA5A7E55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3554010" y="1470331"/>
            <a:ext cx="2720198" cy="63534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5" name="Bildplatzhalter 8">
            <a:extLst>
              <a:ext uri="{FF2B5EF4-FFF2-40B4-BE49-F238E27FC236}">
                <a16:creationId xmlns:a16="http://schemas.microsoft.com/office/drawing/2014/main" id="{E6AB621D-02D8-4D1E-9980-2FFD82E9C58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423803" y="1470331"/>
            <a:ext cx="2720198" cy="63534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Textplatzhalter 26">
            <a:extLst>
              <a:ext uri="{FF2B5EF4-FFF2-40B4-BE49-F238E27FC236}">
                <a16:creationId xmlns:a16="http://schemas.microsoft.com/office/drawing/2014/main" id="{F69311EB-7498-9F4A-A1AF-DF3EB7A1D2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4813" y="157237"/>
            <a:ext cx="2437052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19" name="Textplatzhalter 26">
            <a:extLst>
              <a:ext uri="{FF2B5EF4-FFF2-40B4-BE49-F238E27FC236}">
                <a16:creationId xmlns:a16="http://schemas.microsoft.com/office/drawing/2014/main" id="{FF4458D5-2A78-6D49-8C01-12B2B56485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76359" y="157237"/>
            <a:ext cx="2454997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20" name="Textplatzhalter 26">
            <a:extLst>
              <a:ext uri="{FF2B5EF4-FFF2-40B4-BE49-F238E27FC236}">
                <a16:creationId xmlns:a16="http://schemas.microsoft.com/office/drawing/2014/main" id="{217875A8-9090-4A48-95C7-D300A77D29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651129" y="157237"/>
            <a:ext cx="2450021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21" name="Textplatzhalter 26">
            <a:extLst>
              <a:ext uri="{FF2B5EF4-FFF2-40B4-BE49-F238E27FC236}">
                <a16:creationId xmlns:a16="http://schemas.microsoft.com/office/drawing/2014/main" id="{9E0DC7F7-3BB3-714B-BD16-48D1A36329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4813" y="1028626"/>
            <a:ext cx="2437052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22" name="Textplatzhalter 26">
            <a:extLst>
              <a:ext uri="{FF2B5EF4-FFF2-40B4-BE49-F238E27FC236}">
                <a16:creationId xmlns:a16="http://schemas.microsoft.com/office/drawing/2014/main" id="{5D1E6107-5BDC-2743-83DB-154C9F68569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76359" y="1028626"/>
            <a:ext cx="2454997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23" name="Textplatzhalter 26">
            <a:extLst>
              <a:ext uri="{FF2B5EF4-FFF2-40B4-BE49-F238E27FC236}">
                <a16:creationId xmlns:a16="http://schemas.microsoft.com/office/drawing/2014/main" id="{E99A4454-3C05-C447-AA4A-6D7DFF1DD0C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651129" y="1028626"/>
            <a:ext cx="2450021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356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/>
            </a:lvl1pPr>
          </a:lstStyle>
          <a:p>
            <a:pPr lvl="0"/>
            <a:r>
              <a:rPr lang="de-DE" dirty="0"/>
              <a:t>Unterüberschrift einfüg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80B690A9-D725-4A5B-AFF5-04E4252F4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0583364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9461113B-5D3E-4747-862A-23B000800850}"/>
              </a:ext>
            </a:extLst>
          </p:cNvPr>
          <p:cNvSpPr/>
          <p:nvPr userDrawn="1"/>
        </p:nvSpPr>
        <p:spPr>
          <a:xfrm>
            <a:off x="684216" y="363428"/>
            <a:ext cx="8459788" cy="174170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4213" y="363427"/>
            <a:ext cx="1366838" cy="84517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2" name="Bildplatzhalter 4">
            <a:extLst>
              <a:ext uri="{FF2B5EF4-FFF2-40B4-BE49-F238E27FC236}">
                <a16:creationId xmlns:a16="http://schemas.microsoft.com/office/drawing/2014/main" id="{5E8E2BFE-2BB0-4499-BEEE-6270E3B5F24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84213" y="1259965"/>
            <a:ext cx="1366838" cy="84517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967290" y="363427"/>
            <a:ext cx="1366838" cy="84517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2" name="Bildplatzhalter 4">
            <a:extLst>
              <a:ext uri="{FF2B5EF4-FFF2-40B4-BE49-F238E27FC236}">
                <a16:creationId xmlns:a16="http://schemas.microsoft.com/office/drawing/2014/main" id="{457BB239-3FDE-4AA9-8F78-3A25A953B73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967290" y="1259965"/>
            <a:ext cx="1366838" cy="84517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406567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62" userDrawn="1">
          <p15:clr>
            <a:srgbClr val="FBAE40"/>
          </p15:clr>
        </p15:guide>
        <p15:guide id="2" pos="312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eckbr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9461113B-5D3E-4747-862A-23B000800850}"/>
              </a:ext>
            </a:extLst>
          </p:cNvPr>
          <p:cNvSpPr/>
          <p:nvPr userDrawn="1"/>
        </p:nvSpPr>
        <p:spPr>
          <a:xfrm>
            <a:off x="684216" y="363428"/>
            <a:ext cx="8459788" cy="174170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413795" y="487335"/>
            <a:ext cx="2481881" cy="5586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729999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62" userDrawn="1">
          <p15:clr>
            <a:srgbClr val="FBAE40"/>
          </p15:clr>
        </p15:guide>
        <p15:guide id="2" pos="312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0FB9F193-AE4C-4A2A-8E95-3F077B73C0F8}"/>
              </a:ext>
            </a:extLst>
          </p:cNvPr>
          <p:cNvSpPr/>
          <p:nvPr userDrawn="1"/>
        </p:nvSpPr>
        <p:spPr>
          <a:xfrm>
            <a:off x="0" y="5"/>
            <a:ext cx="858062" cy="24685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lvl="0" algn="ctr"/>
            <a:endParaRPr lang="de-DE" sz="2670" dirty="0" err="1">
              <a:latin typeface="+mj-lt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AAF3A9F-E821-499A-BEC2-27A3632A7486}"/>
              </a:ext>
            </a:extLst>
          </p:cNvPr>
          <p:cNvSpPr/>
          <p:nvPr userDrawn="1"/>
        </p:nvSpPr>
        <p:spPr>
          <a:xfrm>
            <a:off x="684216" y="363428"/>
            <a:ext cx="8459788" cy="174170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2" y="763"/>
          <a:ext cx="1588" cy="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763"/>
                        <a:ext cx="1588" cy="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2"/>
          <p:cNvSpPr>
            <a:spLocks noGrp="1"/>
          </p:cNvSpPr>
          <p:nvPr>
            <p:ph type="pic" sz="quarter" idx="17"/>
          </p:nvPr>
        </p:nvSpPr>
        <p:spPr>
          <a:xfrm>
            <a:off x="684216" y="363428"/>
            <a:ext cx="8459788" cy="1741654"/>
          </a:xfrm>
          <a:prstGeom prst="rect">
            <a:avLst/>
          </a:prstGeom>
          <a:solidFill>
            <a:schemeClr val="bg1"/>
          </a:solidFill>
        </p:spPr>
        <p:txBody>
          <a:bodyPr anchor="b"/>
          <a:lstStyle>
            <a:lvl1pPr marL="0" indent="0" algn="ctr">
              <a:buNone/>
              <a:defRPr sz="1781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6" y="363429"/>
            <a:ext cx="7083169" cy="1829082"/>
          </a:xfrm>
          <a:custGeom>
            <a:avLst/>
            <a:gdLst>
              <a:gd name="connsiteX0" fmla="*/ 0 w 4859308"/>
              <a:gd name="connsiteY0" fmla="*/ 0 h 1582989"/>
              <a:gd name="connsiteX1" fmla="*/ 4859308 w 4859308"/>
              <a:gd name="connsiteY1" fmla="*/ 0 h 1582989"/>
              <a:gd name="connsiteX2" fmla="*/ 4859308 w 4859308"/>
              <a:gd name="connsiteY2" fmla="*/ 1582989 h 1582989"/>
              <a:gd name="connsiteX3" fmla="*/ 0 w 4859308"/>
              <a:gd name="connsiteY3" fmla="*/ 1582989 h 1582989"/>
              <a:gd name="connsiteX4" fmla="*/ 0 w 4859308"/>
              <a:gd name="connsiteY4" fmla="*/ 0 h 1582989"/>
              <a:gd name="connsiteX0" fmla="*/ 0 w 5795653"/>
              <a:gd name="connsiteY0" fmla="*/ 0 h 1582989"/>
              <a:gd name="connsiteX1" fmla="*/ 4859308 w 5795653"/>
              <a:gd name="connsiteY1" fmla="*/ 0 h 1582989"/>
              <a:gd name="connsiteX2" fmla="*/ 5795653 w 5795653"/>
              <a:gd name="connsiteY2" fmla="*/ 1575674 h 1582989"/>
              <a:gd name="connsiteX3" fmla="*/ 0 w 5795653"/>
              <a:gd name="connsiteY3" fmla="*/ 1582989 h 1582989"/>
              <a:gd name="connsiteX4" fmla="*/ 0 w 5795653"/>
              <a:gd name="connsiteY4" fmla="*/ 0 h 1582989"/>
              <a:gd name="connsiteX0" fmla="*/ 0 w 5615439"/>
              <a:gd name="connsiteY0" fmla="*/ 0 h 1582989"/>
              <a:gd name="connsiteX1" fmla="*/ 4859308 w 5615439"/>
              <a:gd name="connsiteY1" fmla="*/ 0 h 1582989"/>
              <a:gd name="connsiteX2" fmla="*/ 5615439 w 5615439"/>
              <a:gd name="connsiteY2" fmla="*/ 1575674 h 1582989"/>
              <a:gd name="connsiteX3" fmla="*/ 0 w 5615439"/>
              <a:gd name="connsiteY3" fmla="*/ 1582989 h 1582989"/>
              <a:gd name="connsiteX4" fmla="*/ 0 w 5615439"/>
              <a:gd name="connsiteY4" fmla="*/ 0 h 1582989"/>
              <a:gd name="connsiteX0" fmla="*/ 0 w 5615439"/>
              <a:gd name="connsiteY0" fmla="*/ 0 h 1582989"/>
              <a:gd name="connsiteX1" fmla="*/ 4859308 w 5615439"/>
              <a:gd name="connsiteY1" fmla="*/ 0 h 1582989"/>
              <a:gd name="connsiteX2" fmla="*/ 5615439 w 5615439"/>
              <a:gd name="connsiteY2" fmla="*/ 1582989 h 1582989"/>
              <a:gd name="connsiteX3" fmla="*/ 0 w 5615439"/>
              <a:gd name="connsiteY3" fmla="*/ 1582989 h 1582989"/>
              <a:gd name="connsiteX4" fmla="*/ 0 w 5615439"/>
              <a:gd name="connsiteY4" fmla="*/ 0 h 158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5439" h="1582989">
                <a:moveTo>
                  <a:pt x="0" y="0"/>
                </a:moveTo>
                <a:lnTo>
                  <a:pt x="4859308" y="0"/>
                </a:lnTo>
                <a:lnTo>
                  <a:pt x="5615439" y="1582989"/>
                </a:lnTo>
                <a:lnTo>
                  <a:pt x="0" y="1582989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none" lIns="684000" tIns="180000" rIns="1260000" bIns="900000">
            <a:sp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el</a:t>
            </a:r>
            <a:r>
              <a:rPr lang="en-US" dirty="0"/>
              <a:t> / </a:t>
            </a:r>
            <a:r>
              <a:rPr lang="en-US" dirty="0" err="1"/>
              <a:t>Veranstaltung</a:t>
            </a:r>
            <a:endParaRPr lang="en-US" dirty="0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4D65D662-8F5E-4621-A86C-89E2733D22C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218" y="732768"/>
            <a:ext cx="2455929" cy="3915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889"/>
              </a:spcBef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676C5FC-564D-48EB-93AA-C8A3462DA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4212" y="883204"/>
            <a:ext cx="1351332" cy="3915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889"/>
              </a:spcBef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, Ort</a:t>
            </a:r>
          </a:p>
        </p:txBody>
      </p:sp>
    </p:spTree>
    <p:extLst>
      <p:ext uri="{BB962C8B-B14F-4D97-AF65-F5344CB8AC3E}">
        <p14:creationId xmlns:p14="http://schemas.microsoft.com/office/powerpoint/2010/main" val="5358164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9461113B-5D3E-4747-862A-23B000800850}"/>
              </a:ext>
            </a:extLst>
          </p:cNvPr>
          <p:cNvSpPr/>
          <p:nvPr userDrawn="1"/>
        </p:nvSpPr>
        <p:spPr>
          <a:xfrm>
            <a:off x="684216" y="363428"/>
            <a:ext cx="8459788" cy="174170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285800" y="488160"/>
            <a:ext cx="1299660" cy="45279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41A9F677-4DAC-4A15-81B3-D4DEC6B7CDB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41950" y="1112645"/>
            <a:ext cx="1296272" cy="4878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06E7AB74-AF20-48A2-9C40-83C82E0F5A4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608520" y="1112645"/>
            <a:ext cx="1296272" cy="4878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75D2276-AC38-464F-ADA2-2D09EF2AEA1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265974" y="1112645"/>
            <a:ext cx="1296272" cy="4878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A15B1EE3-88E6-438B-8BAB-A140E6DA45F6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929277" y="1112645"/>
            <a:ext cx="1296272" cy="4878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7F59E4D-3963-4A65-8E55-943B70C2615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87472" y="1112645"/>
            <a:ext cx="1296272" cy="4878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8080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62" userDrawn="1">
          <p15:clr>
            <a:srgbClr val="FBAE40"/>
          </p15:clr>
        </p15:guide>
        <p15:guide id="2" pos="312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&amp; Bi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0647B6A-76EC-47E4-91B6-049EB09B2C5C}"/>
              </a:ext>
            </a:extLst>
          </p:cNvPr>
          <p:cNvSpPr/>
          <p:nvPr userDrawn="1"/>
        </p:nvSpPr>
        <p:spPr>
          <a:xfrm>
            <a:off x="684216" y="363428"/>
            <a:ext cx="8459788" cy="174170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17" name="Bildplatzhalter 5">
            <a:extLst>
              <a:ext uri="{FF2B5EF4-FFF2-40B4-BE49-F238E27FC236}">
                <a16:creationId xmlns:a16="http://schemas.microsoft.com/office/drawing/2014/main" id="{407B090F-1EAA-4556-8981-5234D055CB2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936429" y="364684"/>
            <a:ext cx="4206329" cy="1740363"/>
          </a:xfrm>
          <a:custGeom>
            <a:avLst/>
            <a:gdLst>
              <a:gd name="connsiteX0" fmla="*/ 0 w 3719512"/>
              <a:gd name="connsiteY0" fmla="*/ 0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0 w 3719512"/>
              <a:gd name="connsiteY4" fmla="*/ 0 h 3313112"/>
              <a:gd name="connsiteX0" fmla="*/ 0 w 3719512"/>
              <a:gd name="connsiteY0" fmla="*/ 0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876 w 3719512"/>
              <a:gd name="connsiteY4" fmla="*/ 558078 h 3313112"/>
              <a:gd name="connsiteX5" fmla="*/ 0 w 3719512"/>
              <a:gd name="connsiteY5" fmla="*/ 0 h 3313112"/>
              <a:gd name="connsiteX0" fmla="*/ 660400 w 3719512"/>
              <a:gd name="connsiteY0" fmla="*/ 4618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876 w 3719512"/>
              <a:gd name="connsiteY4" fmla="*/ 558078 h 3313112"/>
              <a:gd name="connsiteX5" fmla="*/ 660400 w 3719512"/>
              <a:gd name="connsiteY5" fmla="*/ 4618 h 3313112"/>
              <a:gd name="connsiteX0" fmla="*/ 660400 w 3719512"/>
              <a:gd name="connsiteY0" fmla="*/ 4618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1113 w 3719512"/>
              <a:gd name="connsiteY4" fmla="*/ 1052223 h 3313112"/>
              <a:gd name="connsiteX5" fmla="*/ 660400 w 3719512"/>
              <a:gd name="connsiteY5" fmla="*/ 4618 h 3313112"/>
              <a:gd name="connsiteX0" fmla="*/ 660400 w 3719512"/>
              <a:gd name="connsiteY0" fmla="*/ 4618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1113 w 3719512"/>
              <a:gd name="connsiteY4" fmla="*/ 1052223 h 3313112"/>
              <a:gd name="connsiteX5" fmla="*/ 660400 w 3719512"/>
              <a:gd name="connsiteY5" fmla="*/ 4618 h 3313112"/>
              <a:gd name="connsiteX0" fmla="*/ 649288 w 3708400"/>
              <a:gd name="connsiteY0" fmla="*/ 4618 h 3313112"/>
              <a:gd name="connsiteX1" fmla="*/ 3708400 w 3708400"/>
              <a:gd name="connsiteY1" fmla="*/ 0 h 3313112"/>
              <a:gd name="connsiteX2" fmla="*/ 3708400 w 3708400"/>
              <a:gd name="connsiteY2" fmla="*/ 3313112 h 3313112"/>
              <a:gd name="connsiteX3" fmla="*/ 727797 w 3708400"/>
              <a:gd name="connsiteY3" fmla="*/ 3313112 h 3313112"/>
              <a:gd name="connsiteX4" fmla="*/ 1 w 3708400"/>
              <a:gd name="connsiteY4" fmla="*/ 1052223 h 3313112"/>
              <a:gd name="connsiteX5" fmla="*/ 649288 w 3708400"/>
              <a:gd name="connsiteY5" fmla="*/ 4618 h 3313112"/>
              <a:gd name="connsiteX0" fmla="*/ 649288 w 3708400"/>
              <a:gd name="connsiteY0" fmla="*/ 4618 h 3313127"/>
              <a:gd name="connsiteX1" fmla="*/ 3708400 w 3708400"/>
              <a:gd name="connsiteY1" fmla="*/ 0 h 3313127"/>
              <a:gd name="connsiteX2" fmla="*/ 3708400 w 3708400"/>
              <a:gd name="connsiteY2" fmla="*/ 3313112 h 3313127"/>
              <a:gd name="connsiteX3" fmla="*/ 727797 w 3708400"/>
              <a:gd name="connsiteY3" fmla="*/ 3313112 h 3313127"/>
              <a:gd name="connsiteX4" fmla="*/ 1 w 3708400"/>
              <a:gd name="connsiteY4" fmla="*/ 1052223 h 3313127"/>
              <a:gd name="connsiteX5" fmla="*/ 649288 w 3708400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52223 h 3313127"/>
              <a:gd name="connsiteX5" fmla="*/ 649287 w 3708399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52223 h 3313127"/>
              <a:gd name="connsiteX5" fmla="*/ 649287 w 3708399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52223 h 3313127"/>
              <a:gd name="connsiteX5" fmla="*/ 649287 w 3708399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38368 h 3313127"/>
              <a:gd name="connsiteX5" fmla="*/ 649287 w 3708399"/>
              <a:gd name="connsiteY5" fmla="*/ 4618 h 3313127"/>
              <a:gd name="connsiteX0" fmla="*/ 649287 w 4251324"/>
              <a:gd name="connsiteY0" fmla="*/ 0 h 3308509"/>
              <a:gd name="connsiteX1" fmla="*/ 4251324 w 4251324"/>
              <a:gd name="connsiteY1" fmla="*/ 2525 h 3308509"/>
              <a:gd name="connsiteX2" fmla="*/ 3708399 w 4251324"/>
              <a:gd name="connsiteY2" fmla="*/ 3308494 h 3308509"/>
              <a:gd name="connsiteX3" fmla="*/ 727796 w 4251324"/>
              <a:gd name="connsiteY3" fmla="*/ 3308494 h 3308509"/>
              <a:gd name="connsiteX4" fmla="*/ 0 w 4251324"/>
              <a:gd name="connsiteY4" fmla="*/ 1033750 h 3308509"/>
              <a:gd name="connsiteX5" fmla="*/ 649287 w 4251324"/>
              <a:gd name="connsiteY5" fmla="*/ 0 h 3308509"/>
              <a:gd name="connsiteX0" fmla="*/ 649287 w 4251324"/>
              <a:gd name="connsiteY0" fmla="*/ 0 h 3308509"/>
              <a:gd name="connsiteX1" fmla="*/ 4251324 w 4251324"/>
              <a:gd name="connsiteY1" fmla="*/ 2525 h 3308509"/>
              <a:gd name="connsiteX2" fmla="*/ 4248943 w 4251324"/>
              <a:gd name="connsiteY2" fmla="*/ 3306113 h 3308509"/>
              <a:gd name="connsiteX3" fmla="*/ 727796 w 4251324"/>
              <a:gd name="connsiteY3" fmla="*/ 3308494 h 3308509"/>
              <a:gd name="connsiteX4" fmla="*/ 0 w 4251324"/>
              <a:gd name="connsiteY4" fmla="*/ 1033750 h 3308509"/>
              <a:gd name="connsiteX5" fmla="*/ 649287 w 4251324"/>
              <a:gd name="connsiteY5" fmla="*/ 0 h 3308509"/>
              <a:gd name="connsiteX0" fmla="*/ 649287 w 4251324"/>
              <a:gd name="connsiteY0" fmla="*/ 0 h 3308509"/>
              <a:gd name="connsiteX1" fmla="*/ 4251324 w 4251324"/>
              <a:gd name="connsiteY1" fmla="*/ 2525 h 3308509"/>
              <a:gd name="connsiteX2" fmla="*/ 4248943 w 4251324"/>
              <a:gd name="connsiteY2" fmla="*/ 3306113 h 3308509"/>
              <a:gd name="connsiteX3" fmla="*/ 727796 w 4251324"/>
              <a:gd name="connsiteY3" fmla="*/ 3308494 h 3308509"/>
              <a:gd name="connsiteX4" fmla="*/ 0 w 4251324"/>
              <a:gd name="connsiteY4" fmla="*/ 1044382 h 3308509"/>
              <a:gd name="connsiteX5" fmla="*/ 649287 w 4251324"/>
              <a:gd name="connsiteY5" fmla="*/ 0 h 3308509"/>
              <a:gd name="connsiteX0" fmla="*/ 649287 w 4251523"/>
              <a:gd name="connsiteY0" fmla="*/ 0 h 3308509"/>
              <a:gd name="connsiteX1" fmla="*/ 4251324 w 4251523"/>
              <a:gd name="connsiteY1" fmla="*/ 2525 h 3308509"/>
              <a:gd name="connsiteX2" fmla="*/ 4251290 w 4251523"/>
              <a:gd name="connsiteY2" fmla="*/ 3306113 h 3308509"/>
              <a:gd name="connsiteX3" fmla="*/ 727796 w 4251523"/>
              <a:gd name="connsiteY3" fmla="*/ 3308494 h 3308509"/>
              <a:gd name="connsiteX4" fmla="*/ 0 w 4251523"/>
              <a:gd name="connsiteY4" fmla="*/ 1044382 h 3308509"/>
              <a:gd name="connsiteX5" fmla="*/ 649287 w 4251523"/>
              <a:gd name="connsiteY5" fmla="*/ 0 h 3308509"/>
              <a:gd name="connsiteX0" fmla="*/ 649287 w 4251524"/>
              <a:gd name="connsiteY0" fmla="*/ 0 h 3308509"/>
              <a:gd name="connsiteX1" fmla="*/ 4251324 w 4251524"/>
              <a:gd name="connsiteY1" fmla="*/ 2525 h 3308509"/>
              <a:gd name="connsiteX2" fmla="*/ 4251291 w 4251524"/>
              <a:gd name="connsiteY2" fmla="*/ 3306113 h 3308509"/>
              <a:gd name="connsiteX3" fmla="*/ 727796 w 4251524"/>
              <a:gd name="connsiteY3" fmla="*/ 3308494 h 3308509"/>
              <a:gd name="connsiteX4" fmla="*/ 0 w 4251524"/>
              <a:gd name="connsiteY4" fmla="*/ 1044382 h 3308509"/>
              <a:gd name="connsiteX5" fmla="*/ 649287 w 4251524"/>
              <a:gd name="connsiteY5" fmla="*/ 0 h 3308509"/>
              <a:gd name="connsiteX0" fmla="*/ 649287 w 4256061"/>
              <a:gd name="connsiteY0" fmla="*/ 0 h 3308509"/>
              <a:gd name="connsiteX1" fmla="*/ 4251324 w 4256061"/>
              <a:gd name="connsiteY1" fmla="*/ 2525 h 3308509"/>
              <a:gd name="connsiteX2" fmla="*/ 4255992 w 4256061"/>
              <a:gd name="connsiteY2" fmla="*/ 3308462 h 3308509"/>
              <a:gd name="connsiteX3" fmla="*/ 727796 w 4256061"/>
              <a:gd name="connsiteY3" fmla="*/ 3308494 h 3308509"/>
              <a:gd name="connsiteX4" fmla="*/ 0 w 4256061"/>
              <a:gd name="connsiteY4" fmla="*/ 1044382 h 3308509"/>
              <a:gd name="connsiteX5" fmla="*/ 649287 w 4256061"/>
              <a:gd name="connsiteY5" fmla="*/ 0 h 3308509"/>
              <a:gd name="connsiteX0" fmla="*/ 649287 w 4256225"/>
              <a:gd name="connsiteY0" fmla="*/ 2175 h 3310684"/>
              <a:gd name="connsiteX1" fmla="*/ 4256025 w 4256225"/>
              <a:gd name="connsiteY1" fmla="*/ 0 h 3310684"/>
              <a:gd name="connsiteX2" fmla="*/ 4255992 w 4256225"/>
              <a:gd name="connsiteY2" fmla="*/ 3310637 h 3310684"/>
              <a:gd name="connsiteX3" fmla="*/ 727796 w 4256225"/>
              <a:gd name="connsiteY3" fmla="*/ 3310669 h 3310684"/>
              <a:gd name="connsiteX4" fmla="*/ 0 w 4256225"/>
              <a:gd name="connsiteY4" fmla="*/ 1046557 h 3310684"/>
              <a:gd name="connsiteX5" fmla="*/ 649287 w 4256225"/>
              <a:gd name="connsiteY5" fmla="*/ 2175 h 3310684"/>
              <a:gd name="connsiteX0" fmla="*/ 649287 w 4256225"/>
              <a:gd name="connsiteY0" fmla="*/ 0 h 3308509"/>
              <a:gd name="connsiteX1" fmla="*/ 4256025 w 4256225"/>
              <a:gd name="connsiteY1" fmla="*/ 105 h 3308509"/>
              <a:gd name="connsiteX2" fmla="*/ 4255992 w 4256225"/>
              <a:gd name="connsiteY2" fmla="*/ 3308462 h 3308509"/>
              <a:gd name="connsiteX3" fmla="*/ 727796 w 4256225"/>
              <a:gd name="connsiteY3" fmla="*/ 3308494 h 3308509"/>
              <a:gd name="connsiteX4" fmla="*/ 0 w 4256225"/>
              <a:gd name="connsiteY4" fmla="*/ 1044382 h 3308509"/>
              <a:gd name="connsiteX5" fmla="*/ 649287 w 4256225"/>
              <a:gd name="connsiteY5" fmla="*/ 0 h 3308509"/>
              <a:gd name="connsiteX0" fmla="*/ 651566 w 4256225"/>
              <a:gd name="connsiteY0" fmla="*/ 0 h 3308509"/>
              <a:gd name="connsiteX1" fmla="*/ 4256025 w 4256225"/>
              <a:gd name="connsiteY1" fmla="*/ 105 h 3308509"/>
              <a:gd name="connsiteX2" fmla="*/ 4255992 w 4256225"/>
              <a:gd name="connsiteY2" fmla="*/ 3308462 h 3308509"/>
              <a:gd name="connsiteX3" fmla="*/ 727796 w 4256225"/>
              <a:gd name="connsiteY3" fmla="*/ 3308494 h 3308509"/>
              <a:gd name="connsiteX4" fmla="*/ 0 w 4256225"/>
              <a:gd name="connsiteY4" fmla="*/ 1044382 h 3308509"/>
              <a:gd name="connsiteX5" fmla="*/ 651566 w 4256225"/>
              <a:gd name="connsiteY5" fmla="*/ 0 h 3308509"/>
              <a:gd name="connsiteX0" fmla="*/ 997051 w 4601710"/>
              <a:gd name="connsiteY0" fmla="*/ 0 h 3308509"/>
              <a:gd name="connsiteX1" fmla="*/ 4601510 w 4601710"/>
              <a:gd name="connsiteY1" fmla="*/ 105 h 3308509"/>
              <a:gd name="connsiteX2" fmla="*/ 4601477 w 4601710"/>
              <a:gd name="connsiteY2" fmla="*/ 3308462 h 3308509"/>
              <a:gd name="connsiteX3" fmla="*/ 1073281 w 4601710"/>
              <a:gd name="connsiteY3" fmla="*/ 3308494 h 3308509"/>
              <a:gd name="connsiteX4" fmla="*/ 0 w 4601710"/>
              <a:gd name="connsiteY4" fmla="*/ 1059736 h 3308509"/>
              <a:gd name="connsiteX5" fmla="*/ 997051 w 4601710"/>
              <a:gd name="connsiteY5" fmla="*/ 0 h 3308509"/>
              <a:gd name="connsiteX0" fmla="*/ 997051 w 4601710"/>
              <a:gd name="connsiteY0" fmla="*/ 0 h 3308509"/>
              <a:gd name="connsiteX1" fmla="*/ 4601510 w 4601710"/>
              <a:gd name="connsiteY1" fmla="*/ 105 h 3308509"/>
              <a:gd name="connsiteX2" fmla="*/ 4601477 w 4601710"/>
              <a:gd name="connsiteY2" fmla="*/ 3308462 h 3308509"/>
              <a:gd name="connsiteX3" fmla="*/ 1073281 w 4601710"/>
              <a:gd name="connsiteY3" fmla="*/ 3308494 h 3308509"/>
              <a:gd name="connsiteX4" fmla="*/ 0 w 4601710"/>
              <a:gd name="connsiteY4" fmla="*/ 1059736 h 3308509"/>
              <a:gd name="connsiteX5" fmla="*/ 997051 w 4601710"/>
              <a:gd name="connsiteY5" fmla="*/ 0 h 3308509"/>
              <a:gd name="connsiteX0" fmla="*/ 997051 w 4601710"/>
              <a:gd name="connsiteY0" fmla="*/ 0 h 3308509"/>
              <a:gd name="connsiteX1" fmla="*/ 4601510 w 4601710"/>
              <a:gd name="connsiteY1" fmla="*/ 105 h 3308509"/>
              <a:gd name="connsiteX2" fmla="*/ 4601477 w 4601710"/>
              <a:gd name="connsiteY2" fmla="*/ 3308462 h 3308509"/>
              <a:gd name="connsiteX3" fmla="*/ 1854794 w 4601710"/>
              <a:gd name="connsiteY3" fmla="*/ 3308494 h 3308509"/>
              <a:gd name="connsiteX4" fmla="*/ 0 w 4601710"/>
              <a:gd name="connsiteY4" fmla="*/ 1059736 h 3308509"/>
              <a:gd name="connsiteX5" fmla="*/ 997051 w 4601710"/>
              <a:gd name="connsiteY5" fmla="*/ 0 h 3308509"/>
              <a:gd name="connsiteX0" fmla="*/ 233128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233128 w 3837787"/>
              <a:gd name="connsiteY5" fmla="*/ 0 h 3308508"/>
              <a:gd name="connsiteX0" fmla="*/ 485641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5641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7787" h="3308508">
                <a:moveTo>
                  <a:pt x="488116" y="0"/>
                </a:moveTo>
                <a:lnTo>
                  <a:pt x="3837587" y="105"/>
                </a:lnTo>
                <a:cubicBezTo>
                  <a:pt x="3836793" y="1101301"/>
                  <a:pt x="3838348" y="2207266"/>
                  <a:pt x="3837554" y="3308462"/>
                </a:cubicBezTo>
                <a:lnTo>
                  <a:pt x="1090871" y="3308494"/>
                </a:lnTo>
                <a:cubicBezTo>
                  <a:pt x="1091496" y="3313785"/>
                  <a:pt x="409600" y="1886052"/>
                  <a:pt x="0" y="1027068"/>
                </a:cubicBezTo>
                <a:cubicBezTo>
                  <a:pt x="203863" y="609799"/>
                  <a:pt x="311629" y="380324"/>
                  <a:pt x="488116" y="0"/>
                </a:cubicBez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 sz="1781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Grafik 9">
            <a:extLst>
              <a:ext uri="{FF2B5EF4-FFF2-40B4-BE49-F238E27FC236}">
                <a16:creationId xmlns:a16="http://schemas.microsoft.com/office/drawing/2014/main" id="{B262BFFC-01B3-7B4E-861E-DFDF4BE558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4813" y="484260"/>
            <a:ext cx="398971" cy="182858"/>
          </a:xfrm>
          <a:prstGeom prst="rect">
            <a:avLst/>
          </a:prstGeom>
        </p:spPr>
      </p:pic>
      <p:sp>
        <p:nvSpPr>
          <p:cNvPr id="9" name="Textplatzhalter 3">
            <a:extLst>
              <a:ext uri="{FF2B5EF4-FFF2-40B4-BE49-F238E27FC236}">
                <a16:creationId xmlns:a16="http://schemas.microsoft.com/office/drawing/2014/main" id="{A799D434-E711-5848-80D1-3DAB88AD9C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28629" y="484265"/>
            <a:ext cx="2578950" cy="212528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800875" indent="-266957">
              <a:spcBef>
                <a:spcPts val="0"/>
              </a:spcBef>
              <a:defRPr sz="2077">
                <a:solidFill>
                  <a:schemeClr val="tx1"/>
                </a:solidFill>
              </a:defRPr>
            </a:lvl2pPr>
            <a:lvl3pPr marL="1601750" indent="-266957">
              <a:spcBef>
                <a:spcPts val="0"/>
              </a:spcBef>
              <a:buFont typeface="Wingdings" panose="05000000000000000000" pitchFamily="2" charset="2"/>
              <a:buChar char="§"/>
              <a:defRPr sz="2077">
                <a:solidFill>
                  <a:schemeClr val="tx1"/>
                </a:solidFill>
              </a:defRPr>
            </a:lvl3pPr>
            <a:lvl4pPr>
              <a:defRPr sz="2077">
                <a:solidFill>
                  <a:schemeClr val="tx1"/>
                </a:solidFill>
              </a:defRPr>
            </a:lvl4pPr>
            <a:lvl5pPr>
              <a:defRPr sz="207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Hier eine Überschrift einfügen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B06A5221-38FC-0A45-B567-8FC9F2C8A2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28633" y="800025"/>
            <a:ext cx="2578949" cy="1184282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56279" indent="-256279">
              <a:spcBef>
                <a:spcPts val="889"/>
              </a:spcBef>
              <a:spcAft>
                <a:spcPts val="0"/>
              </a:spcAft>
              <a:buFontTx/>
              <a:buBlip>
                <a:blip r:embed="rId4"/>
              </a:buBlip>
              <a:defRPr sz="1600" b="0">
                <a:solidFill>
                  <a:schemeClr val="tx1"/>
                </a:solidFill>
              </a:defRPr>
            </a:lvl1pPr>
            <a:lvl2pPr marL="800875" indent="-266957">
              <a:spcBef>
                <a:spcPts val="0"/>
              </a:spcBef>
              <a:defRPr sz="2077">
                <a:solidFill>
                  <a:schemeClr val="tx1"/>
                </a:solidFill>
              </a:defRPr>
            </a:lvl2pPr>
            <a:lvl3pPr marL="1601750" indent="-266957">
              <a:spcBef>
                <a:spcPts val="0"/>
              </a:spcBef>
              <a:buFont typeface="Wingdings" panose="05000000000000000000" pitchFamily="2" charset="2"/>
              <a:buChar char="§"/>
              <a:defRPr sz="2077">
                <a:solidFill>
                  <a:schemeClr val="tx1"/>
                </a:solidFill>
              </a:defRPr>
            </a:lvl3pPr>
            <a:lvl4pPr>
              <a:defRPr sz="2077">
                <a:solidFill>
                  <a:schemeClr val="tx1"/>
                </a:solidFill>
              </a:defRPr>
            </a:lvl4pPr>
            <a:lvl5pPr>
              <a:defRPr sz="207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3F00AE2-1760-4A8E-9E28-E05FD932DC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7597413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&amp; Bi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3B505A4F-7D3B-42FC-8DCA-EC5497C7AEF7}"/>
              </a:ext>
            </a:extLst>
          </p:cNvPr>
          <p:cNvSpPr/>
          <p:nvPr userDrawn="1"/>
        </p:nvSpPr>
        <p:spPr>
          <a:xfrm>
            <a:off x="684216" y="363428"/>
            <a:ext cx="8459788" cy="174170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9" name="Bildplatzhalter 21">
            <a:extLst>
              <a:ext uri="{FF2B5EF4-FFF2-40B4-BE49-F238E27FC236}">
                <a16:creationId xmlns:a16="http://schemas.microsoft.com/office/drawing/2014/main" id="{7795AC2F-CBA1-4222-B52B-D68E8EDAAEA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0719" y="365717"/>
            <a:ext cx="8453282" cy="92685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Grafik 9">
            <a:extLst>
              <a:ext uri="{FF2B5EF4-FFF2-40B4-BE49-F238E27FC236}">
                <a16:creationId xmlns:a16="http://schemas.microsoft.com/office/drawing/2014/main" id="{87FB08AA-E516-0A4A-A21E-573CFDDE58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9312" y="1429732"/>
            <a:ext cx="398971" cy="182858"/>
          </a:xfrm>
          <a:prstGeom prst="rect">
            <a:avLst/>
          </a:prstGeom>
        </p:spPr>
      </p:pic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9CC19695-BF1E-4D40-A7A4-9A19E3812B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28630" y="1429735"/>
            <a:ext cx="1786088" cy="212528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</a:defRPr>
            </a:lvl1pPr>
            <a:lvl2pPr marL="800875" indent="-266957">
              <a:spcBef>
                <a:spcPts val="0"/>
              </a:spcBef>
              <a:defRPr sz="2077">
                <a:solidFill>
                  <a:schemeClr val="tx1"/>
                </a:solidFill>
              </a:defRPr>
            </a:lvl2pPr>
            <a:lvl3pPr marL="1601750" indent="-266957">
              <a:spcBef>
                <a:spcPts val="0"/>
              </a:spcBef>
              <a:buFont typeface="Wingdings" panose="05000000000000000000" pitchFamily="2" charset="2"/>
              <a:buChar char="§"/>
              <a:defRPr sz="2077">
                <a:solidFill>
                  <a:schemeClr val="tx1"/>
                </a:solidFill>
              </a:defRPr>
            </a:lvl3pPr>
            <a:lvl4pPr>
              <a:defRPr sz="2077">
                <a:solidFill>
                  <a:schemeClr val="tx1"/>
                </a:solidFill>
              </a:defRPr>
            </a:lvl4pPr>
            <a:lvl5pPr>
              <a:defRPr sz="207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Hier eine Überschrift einfügen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EA82907D-DAAA-7A46-9336-76F36E6154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76446" y="1429732"/>
            <a:ext cx="2481881" cy="55457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56279" indent="-256279">
              <a:spcBef>
                <a:spcPts val="889"/>
              </a:spcBef>
              <a:spcAft>
                <a:spcPts val="0"/>
              </a:spcAft>
              <a:buFontTx/>
              <a:buBlip>
                <a:blip r:embed="rId4"/>
              </a:buBlip>
              <a:defRPr sz="1600" b="0">
                <a:solidFill>
                  <a:schemeClr val="tx1"/>
                </a:solidFill>
              </a:defRPr>
            </a:lvl1pPr>
            <a:lvl2pPr marL="800875" indent="-266957">
              <a:spcBef>
                <a:spcPts val="0"/>
              </a:spcBef>
              <a:defRPr sz="2077">
                <a:solidFill>
                  <a:schemeClr val="tx1"/>
                </a:solidFill>
              </a:defRPr>
            </a:lvl2pPr>
            <a:lvl3pPr marL="1601750" indent="-266957">
              <a:spcBef>
                <a:spcPts val="0"/>
              </a:spcBef>
              <a:buFont typeface="Wingdings" panose="05000000000000000000" pitchFamily="2" charset="2"/>
              <a:buChar char="§"/>
              <a:defRPr sz="2077">
                <a:solidFill>
                  <a:schemeClr val="tx1"/>
                </a:solidFill>
              </a:defRPr>
            </a:lvl3pPr>
            <a:lvl4pPr>
              <a:defRPr sz="2077">
                <a:solidFill>
                  <a:schemeClr val="tx1"/>
                </a:solidFill>
              </a:defRPr>
            </a:lvl4pPr>
            <a:lvl5pPr>
              <a:defRPr sz="207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9FBB1583-2824-224E-83B8-EA073C6A1A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8282" y="1429732"/>
            <a:ext cx="2471678" cy="55457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56279" indent="-256279">
              <a:spcBef>
                <a:spcPts val="889"/>
              </a:spcBef>
              <a:spcAft>
                <a:spcPts val="0"/>
              </a:spcAft>
              <a:buFontTx/>
              <a:buBlip>
                <a:blip r:embed="rId4"/>
              </a:buBlip>
              <a:defRPr sz="1600" b="0">
                <a:solidFill>
                  <a:schemeClr val="tx1"/>
                </a:solidFill>
              </a:defRPr>
            </a:lvl1pPr>
            <a:lvl2pPr marL="800875" indent="-266957">
              <a:spcBef>
                <a:spcPts val="0"/>
              </a:spcBef>
              <a:defRPr sz="2077">
                <a:solidFill>
                  <a:schemeClr val="tx1"/>
                </a:solidFill>
              </a:defRPr>
            </a:lvl2pPr>
            <a:lvl3pPr marL="1601750" indent="-266957">
              <a:spcBef>
                <a:spcPts val="0"/>
              </a:spcBef>
              <a:buFont typeface="Wingdings" panose="05000000000000000000" pitchFamily="2" charset="2"/>
              <a:buChar char="§"/>
              <a:defRPr sz="2077">
                <a:solidFill>
                  <a:schemeClr val="tx1"/>
                </a:solidFill>
              </a:defRPr>
            </a:lvl3pPr>
            <a:lvl4pPr>
              <a:defRPr sz="2077">
                <a:solidFill>
                  <a:schemeClr val="tx1"/>
                </a:solidFill>
              </a:defRPr>
            </a:lvl4pPr>
            <a:lvl5pPr>
              <a:defRPr sz="207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5F5DC176-7BE9-4F92-BDA6-1DEF3CD64E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094929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&amp; Bi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CAF15E4D-60BE-4F06-BFF9-D3166E58232A}"/>
              </a:ext>
            </a:extLst>
          </p:cNvPr>
          <p:cNvSpPr/>
          <p:nvPr userDrawn="1"/>
        </p:nvSpPr>
        <p:spPr>
          <a:xfrm>
            <a:off x="684216" y="363428"/>
            <a:ext cx="8459788" cy="174170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8" name="Bildplatzhalter 21">
            <a:extLst>
              <a:ext uri="{FF2B5EF4-FFF2-40B4-BE49-F238E27FC236}">
                <a16:creationId xmlns:a16="http://schemas.microsoft.com/office/drawing/2014/main" id="{0145011A-6A29-4C1B-8AC4-465FEC6462A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3053" y="365718"/>
            <a:ext cx="5070950" cy="1739422"/>
          </a:xfrm>
          <a:custGeom>
            <a:avLst/>
            <a:gdLst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0 w 5070950"/>
              <a:gd name="connsiteY3" fmla="*/ 3624262 h 3624262"/>
              <a:gd name="connsiteX4" fmla="*/ 0 w 5070950"/>
              <a:gd name="connsiteY4" fmla="*/ 0 h 3624262"/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1733550 w 5070950"/>
              <a:gd name="connsiteY3" fmla="*/ 3624262 h 3624262"/>
              <a:gd name="connsiteX4" fmla="*/ 0 w 5070950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3624262">
                <a:moveTo>
                  <a:pt x="0" y="0"/>
                </a:moveTo>
                <a:lnTo>
                  <a:pt x="5070950" y="0"/>
                </a:lnTo>
                <a:lnTo>
                  <a:pt x="5070950" y="3624262"/>
                </a:lnTo>
                <a:lnTo>
                  <a:pt x="1733550" y="3624262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422B33E6-C66E-0642-8824-5F9F9706FE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7095" y="485883"/>
            <a:ext cx="2739348" cy="149842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66957" indent="-266957">
              <a:spcBef>
                <a:spcPts val="889"/>
              </a:spcBef>
              <a:buFontTx/>
              <a:buBlip>
                <a:blip r:embed="rId2"/>
              </a:buBlip>
              <a:defRPr sz="1600">
                <a:solidFill>
                  <a:schemeClr val="tx1"/>
                </a:solidFill>
              </a:defRPr>
            </a:lvl1pPr>
            <a:lvl2pPr marL="800875" indent="-266957">
              <a:spcBef>
                <a:spcPts val="889"/>
              </a:spcBef>
              <a:defRPr sz="1600">
                <a:solidFill>
                  <a:schemeClr val="tx1"/>
                </a:solidFill>
              </a:defRPr>
            </a:lvl2pPr>
            <a:lvl3pPr marL="1601750" indent="-266957">
              <a:spcBef>
                <a:spcPts val="889"/>
              </a:spcBef>
              <a:buFontTx/>
              <a:buBlip>
                <a:blip r:embed="rId2"/>
              </a:buBlip>
              <a:defRPr sz="1600">
                <a:solidFill>
                  <a:schemeClr val="tx1"/>
                </a:solidFill>
              </a:defRPr>
            </a:lvl3pPr>
            <a:lvl4pPr>
              <a:spcBef>
                <a:spcPts val="889"/>
              </a:spcBef>
              <a:defRPr sz="1600">
                <a:solidFill>
                  <a:schemeClr val="tx1"/>
                </a:solidFill>
              </a:defRPr>
            </a:lvl4pPr>
            <a:lvl5pPr>
              <a:defRPr sz="2077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B67F71B-F595-4649-8D2C-5C49019090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1627705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1">
            <a:extLst>
              <a:ext uri="{FF2B5EF4-FFF2-40B4-BE49-F238E27FC236}">
                <a16:creationId xmlns:a16="http://schemas.microsoft.com/office/drawing/2014/main" id="{49F33779-D48C-4918-BFBC-98F9EAB5E2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0719" y="365718"/>
            <a:ext cx="8453282" cy="173942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92C23A0-BE19-47B4-87C2-3E85D8F0DE9B}"/>
              </a:ext>
            </a:extLst>
          </p:cNvPr>
          <p:cNvSpPr/>
          <p:nvPr userDrawn="1"/>
        </p:nvSpPr>
        <p:spPr>
          <a:xfrm>
            <a:off x="684216" y="363428"/>
            <a:ext cx="8459788" cy="1741708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6162EEA3-EE2C-4CDD-A308-71519187F1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03984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1">
            <a:extLst>
              <a:ext uri="{FF2B5EF4-FFF2-40B4-BE49-F238E27FC236}">
                <a16:creationId xmlns:a16="http://schemas.microsoft.com/office/drawing/2014/main" id="{4A277F98-0860-4217-9FE3-212F90CCFF8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5"/>
            <a:ext cx="9144000" cy="2105135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943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1">
            <a:extLst>
              <a:ext uri="{FF2B5EF4-FFF2-40B4-BE49-F238E27FC236}">
                <a16:creationId xmlns:a16="http://schemas.microsoft.com/office/drawing/2014/main" id="{83FAB4AF-8D89-4B18-851A-0C3BBBA018E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3053" y="365718"/>
            <a:ext cx="5070950" cy="1739422"/>
          </a:xfrm>
          <a:custGeom>
            <a:avLst/>
            <a:gdLst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0 w 5070950"/>
              <a:gd name="connsiteY3" fmla="*/ 3624262 h 3624262"/>
              <a:gd name="connsiteX4" fmla="*/ 0 w 5070950"/>
              <a:gd name="connsiteY4" fmla="*/ 0 h 3624262"/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1733550 w 5070950"/>
              <a:gd name="connsiteY3" fmla="*/ 3624262 h 3624262"/>
              <a:gd name="connsiteX4" fmla="*/ 0 w 5070950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3624262">
                <a:moveTo>
                  <a:pt x="0" y="0"/>
                </a:moveTo>
                <a:lnTo>
                  <a:pt x="5070950" y="0"/>
                </a:lnTo>
                <a:lnTo>
                  <a:pt x="5070950" y="3624262"/>
                </a:lnTo>
                <a:lnTo>
                  <a:pt x="1733550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Bildplatzhalter 21">
            <a:extLst>
              <a:ext uri="{FF2B5EF4-FFF2-40B4-BE49-F238E27FC236}">
                <a16:creationId xmlns:a16="http://schemas.microsoft.com/office/drawing/2014/main" id="{DA205671-6F91-451B-93C2-AB36C1D7752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0719" y="365599"/>
            <a:ext cx="5063170" cy="1739537"/>
          </a:xfrm>
          <a:custGeom>
            <a:avLst/>
            <a:gdLst>
              <a:gd name="connsiteX0" fmla="*/ 0 w 5063169"/>
              <a:gd name="connsiteY0" fmla="*/ 0 h 3624262"/>
              <a:gd name="connsiteX1" fmla="*/ 5063169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0 h 3624262"/>
              <a:gd name="connsiteX1" fmla="*/ 3336551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2620 h 3626882"/>
              <a:gd name="connsiteX1" fmla="*/ 333393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620 h 3626882"/>
              <a:gd name="connsiteX1" fmla="*/ 332869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38 h 3624500"/>
              <a:gd name="connsiteX1" fmla="*/ 3331072 w 5063169"/>
              <a:gd name="connsiteY1" fmla="*/ 0 h 3624500"/>
              <a:gd name="connsiteX2" fmla="*/ 5063169 w 5063169"/>
              <a:gd name="connsiteY2" fmla="*/ 3624500 h 3624500"/>
              <a:gd name="connsiteX3" fmla="*/ 0 w 5063169"/>
              <a:gd name="connsiteY3" fmla="*/ 3624500 h 3624500"/>
              <a:gd name="connsiteX4" fmla="*/ 0 w 5063169"/>
              <a:gd name="connsiteY4" fmla="*/ 238 h 362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3169" h="3624500">
                <a:moveTo>
                  <a:pt x="0" y="238"/>
                </a:moveTo>
                <a:lnTo>
                  <a:pt x="3331072" y="0"/>
                </a:lnTo>
                <a:lnTo>
                  <a:pt x="5063169" y="3624500"/>
                </a:lnTo>
                <a:lnTo>
                  <a:pt x="0" y="3624500"/>
                </a:lnTo>
                <a:lnTo>
                  <a:pt x="0" y="238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B9C06851-A738-455A-B943-31E540C65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0247632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21">
            <a:extLst>
              <a:ext uri="{FF2B5EF4-FFF2-40B4-BE49-F238E27FC236}">
                <a16:creationId xmlns:a16="http://schemas.microsoft.com/office/drawing/2014/main" id="{DE81FEC8-02C9-459A-BC47-4D4EEBE49B2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" y="-1161"/>
            <a:ext cx="5595668" cy="2106296"/>
          </a:xfrm>
          <a:custGeom>
            <a:avLst/>
            <a:gdLst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0 w 5595667"/>
              <a:gd name="connsiteY3" fmla="*/ 4386262 h 4386262"/>
              <a:gd name="connsiteX4" fmla="*/ 0 w 5595667"/>
              <a:gd name="connsiteY4" fmla="*/ 0 h 4386262"/>
              <a:gd name="connsiteX0" fmla="*/ 0 w 5595667"/>
              <a:gd name="connsiteY0" fmla="*/ 2419 h 4388681"/>
              <a:gd name="connsiteX1" fmla="*/ 3500772 w 5595667"/>
              <a:gd name="connsiteY1" fmla="*/ 0 h 4388681"/>
              <a:gd name="connsiteX2" fmla="*/ 5595667 w 5595667"/>
              <a:gd name="connsiteY2" fmla="*/ 4388681 h 4388681"/>
              <a:gd name="connsiteX3" fmla="*/ 0 w 5595667"/>
              <a:gd name="connsiteY3" fmla="*/ 4388681 h 4388681"/>
              <a:gd name="connsiteX4" fmla="*/ 0 w 5595667"/>
              <a:gd name="connsiteY4" fmla="*/ 2419 h 4388681"/>
              <a:gd name="connsiteX0" fmla="*/ 0 w 5595667"/>
              <a:gd name="connsiteY0" fmla="*/ 2419 h 4388681"/>
              <a:gd name="connsiteX1" fmla="*/ 3495934 w 5595667"/>
              <a:gd name="connsiteY1" fmla="*/ 0 h 4388681"/>
              <a:gd name="connsiteX2" fmla="*/ 5595667 w 5595667"/>
              <a:gd name="connsiteY2" fmla="*/ 4388681 h 4388681"/>
              <a:gd name="connsiteX3" fmla="*/ 0 w 5595667"/>
              <a:gd name="connsiteY3" fmla="*/ 4388681 h 4388681"/>
              <a:gd name="connsiteX4" fmla="*/ 0 w 5595667"/>
              <a:gd name="connsiteY4" fmla="*/ 2419 h 4388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5667" h="4388681">
                <a:moveTo>
                  <a:pt x="0" y="2419"/>
                </a:moveTo>
                <a:lnTo>
                  <a:pt x="3495934" y="0"/>
                </a:lnTo>
                <a:lnTo>
                  <a:pt x="5595667" y="4388681"/>
                </a:lnTo>
                <a:lnTo>
                  <a:pt x="0" y="4388681"/>
                </a:lnTo>
                <a:lnTo>
                  <a:pt x="0" y="2419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platzhalter 21">
            <a:extLst>
              <a:ext uri="{FF2B5EF4-FFF2-40B4-BE49-F238E27FC236}">
                <a16:creationId xmlns:a16="http://schemas.microsoft.com/office/drawing/2014/main" id="{28FD84B1-3C5F-4A6E-8F37-DC31AB76CAD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548334" y="5"/>
            <a:ext cx="5595668" cy="2105135"/>
          </a:xfrm>
          <a:custGeom>
            <a:avLst/>
            <a:gdLst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0 w 5595667"/>
              <a:gd name="connsiteY3" fmla="*/ 4386262 h 4386262"/>
              <a:gd name="connsiteX4" fmla="*/ 0 w 5595667"/>
              <a:gd name="connsiteY4" fmla="*/ 0 h 4386262"/>
              <a:gd name="connsiteX0" fmla="*/ 0 w 5595667"/>
              <a:gd name="connsiteY0" fmla="*/ 0 h 4388681"/>
              <a:gd name="connsiteX1" fmla="*/ 5595667 w 5595667"/>
              <a:gd name="connsiteY1" fmla="*/ 0 h 4388681"/>
              <a:gd name="connsiteX2" fmla="*/ 5595667 w 5595667"/>
              <a:gd name="connsiteY2" fmla="*/ 4386262 h 4388681"/>
              <a:gd name="connsiteX3" fmla="*/ 2102152 w 5595667"/>
              <a:gd name="connsiteY3" fmla="*/ 4388681 h 4388681"/>
              <a:gd name="connsiteX4" fmla="*/ 0 w 5595667"/>
              <a:gd name="connsiteY4" fmla="*/ 0 h 4388681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2102152 w 5595667"/>
              <a:gd name="connsiteY3" fmla="*/ 4383843 h 4386262"/>
              <a:gd name="connsiteX4" fmla="*/ 0 w 5595667"/>
              <a:gd name="connsiteY4" fmla="*/ 0 h 4386262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2102152 w 5595667"/>
              <a:gd name="connsiteY3" fmla="*/ 4386262 h 4386262"/>
              <a:gd name="connsiteX4" fmla="*/ 0 w 5595667"/>
              <a:gd name="connsiteY4" fmla="*/ 0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5667" h="4386262">
                <a:moveTo>
                  <a:pt x="0" y="0"/>
                </a:moveTo>
                <a:lnTo>
                  <a:pt x="5595667" y="0"/>
                </a:lnTo>
                <a:lnTo>
                  <a:pt x="5595667" y="4386262"/>
                </a:lnTo>
                <a:lnTo>
                  <a:pt x="2102152" y="4386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09455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21">
            <a:extLst>
              <a:ext uri="{FF2B5EF4-FFF2-40B4-BE49-F238E27FC236}">
                <a16:creationId xmlns:a16="http://schemas.microsoft.com/office/drawing/2014/main" id="{1E3A6839-94DD-4584-B049-304E6FF1D0F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0719" y="365718"/>
            <a:ext cx="3648582" cy="1739422"/>
          </a:xfrm>
          <a:custGeom>
            <a:avLst/>
            <a:gdLst>
              <a:gd name="connsiteX0" fmla="*/ 0 w 3648583"/>
              <a:gd name="connsiteY0" fmla="*/ 0 h 3624262"/>
              <a:gd name="connsiteX1" fmla="*/ 3648583 w 3648583"/>
              <a:gd name="connsiteY1" fmla="*/ 0 h 3624262"/>
              <a:gd name="connsiteX2" fmla="*/ 3648583 w 3648583"/>
              <a:gd name="connsiteY2" fmla="*/ 3624262 h 3624262"/>
              <a:gd name="connsiteX3" fmla="*/ 0 w 3648583"/>
              <a:gd name="connsiteY3" fmla="*/ 3624262 h 3624262"/>
              <a:gd name="connsiteX4" fmla="*/ 0 w 3648583"/>
              <a:gd name="connsiteY4" fmla="*/ 0 h 3624262"/>
              <a:gd name="connsiteX0" fmla="*/ 0 w 3648583"/>
              <a:gd name="connsiteY0" fmla="*/ 0 h 3624262"/>
              <a:gd name="connsiteX1" fmla="*/ 1915033 w 3648583"/>
              <a:gd name="connsiteY1" fmla="*/ 0 h 3624262"/>
              <a:gd name="connsiteX2" fmla="*/ 3648583 w 3648583"/>
              <a:gd name="connsiteY2" fmla="*/ 3624262 h 3624262"/>
              <a:gd name="connsiteX3" fmla="*/ 0 w 3648583"/>
              <a:gd name="connsiteY3" fmla="*/ 3624262 h 3624262"/>
              <a:gd name="connsiteX4" fmla="*/ 0 w 3648583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48583" h="3624262">
                <a:moveTo>
                  <a:pt x="0" y="0"/>
                </a:moveTo>
                <a:lnTo>
                  <a:pt x="1915033" y="0"/>
                </a:lnTo>
                <a:lnTo>
                  <a:pt x="3648583" y="3624262"/>
                </a:lnTo>
                <a:lnTo>
                  <a:pt x="0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Bildplatzhalter 21">
            <a:extLst>
              <a:ext uri="{FF2B5EF4-FFF2-40B4-BE49-F238E27FC236}">
                <a16:creationId xmlns:a16="http://schemas.microsoft.com/office/drawing/2014/main" id="{80DCE87E-665C-4F26-B7E0-9A5523307C8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73434" y="365718"/>
            <a:ext cx="3670569" cy="1739422"/>
          </a:xfrm>
          <a:custGeom>
            <a:avLst/>
            <a:gdLst>
              <a:gd name="connsiteX0" fmla="*/ 0 w 3670568"/>
              <a:gd name="connsiteY0" fmla="*/ 0 h 3624262"/>
              <a:gd name="connsiteX1" fmla="*/ 3670568 w 3670568"/>
              <a:gd name="connsiteY1" fmla="*/ 0 h 3624262"/>
              <a:gd name="connsiteX2" fmla="*/ 3670568 w 3670568"/>
              <a:gd name="connsiteY2" fmla="*/ 3624262 h 3624262"/>
              <a:gd name="connsiteX3" fmla="*/ 0 w 3670568"/>
              <a:gd name="connsiteY3" fmla="*/ 3624262 h 3624262"/>
              <a:gd name="connsiteX4" fmla="*/ 0 w 3670568"/>
              <a:gd name="connsiteY4" fmla="*/ 0 h 3624262"/>
              <a:gd name="connsiteX0" fmla="*/ 0 w 3670568"/>
              <a:gd name="connsiteY0" fmla="*/ 0 h 3624262"/>
              <a:gd name="connsiteX1" fmla="*/ 3670568 w 3670568"/>
              <a:gd name="connsiteY1" fmla="*/ 0 h 3624262"/>
              <a:gd name="connsiteX2" fmla="*/ 3670568 w 3670568"/>
              <a:gd name="connsiteY2" fmla="*/ 3624262 h 3624262"/>
              <a:gd name="connsiteX3" fmla="*/ 1735931 w 3670568"/>
              <a:gd name="connsiteY3" fmla="*/ 3624262 h 3624262"/>
              <a:gd name="connsiteX4" fmla="*/ 0 w 3670568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0568" h="3624262">
                <a:moveTo>
                  <a:pt x="0" y="0"/>
                </a:moveTo>
                <a:lnTo>
                  <a:pt x="3670568" y="0"/>
                </a:lnTo>
                <a:lnTo>
                  <a:pt x="3670568" y="3624262"/>
                </a:lnTo>
                <a:lnTo>
                  <a:pt x="1735931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7" name="Bildplatzhalter 21">
            <a:extLst>
              <a:ext uri="{FF2B5EF4-FFF2-40B4-BE49-F238E27FC236}">
                <a16:creationId xmlns:a16="http://schemas.microsoft.com/office/drawing/2014/main" id="{C9BA9FBD-B328-45A8-804F-0500B3CD6A5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58467" y="365718"/>
            <a:ext cx="4495802" cy="1739422"/>
          </a:xfrm>
          <a:custGeom>
            <a:avLst/>
            <a:gdLst>
              <a:gd name="connsiteX0" fmla="*/ 0 w 4495803"/>
              <a:gd name="connsiteY0" fmla="*/ 0 h 3624262"/>
              <a:gd name="connsiteX1" fmla="*/ 4495803 w 4495803"/>
              <a:gd name="connsiteY1" fmla="*/ 0 h 3624262"/>
              <a:gd name="connsiteX2" fmla="*/ 4495803 w 4495803"/>
              <a:gd name="connsiteY2" fmla="*/ 3624262 h 3624262"/>
              <a:gd name="connsiteX3" fmla="*/ 0 w 4495803"/>
              <a:gd name="connsiteY3" fmla="*/ 3624262 h 3624262"/>
              <a:gd name="connsiteX4" fmla="*/ 0 w 4495803"/>
              <a:gd name="connsiteY4" fmla="*/ 0 h 3624262"/>
              <a:gd name="connsiteX0" fmla="*/ 0 w 4495803"/>
              <a:gd name="connsiteY0" fmla="*/ 2381 h 3626643"/>
              <a:gd name="connsiteX1" fmla="*/ 2764634 w 4495803"/>
              <a:gd name="connsiteY1" fmla="*/ 0 h 3626643"/>
              <a:gd name="connsiteX2" fmla="*/ 4495803 w 4495803"/>
              <a:gd name="connsiteY2" fmla="*/ 3626643 h 3626643"/>
              <a:gd name="connsiteX3" fmla="*/ 0 w 4495803"/>
              <a:gd name="connsiteY3" fmla="*/ 3626643 h 3626643"/>
              <a:gd name="connsiteX4" fmla="*/ 0 w 4495803"/>
              <a:gd name="connsiteY4" fmla="*/ 2381 h 3626643"/>
              <a:gd name="connsiteX0" fmla="*/ 0 w 4495803"/>
              <a:gd name="connsiteY0" fmla="*/ 0 h 3624262"/>
              <a:gd name="connsiteX1" fmla="*/ 2762253 w 4495803"/>
              <a:gd name="connsiteY1" fmla="*/ 1 h 3624262"/>
              <a:gd name="connsiteX2" fmla="*/ 4495803 w 4495803"/>
              <a:gd name="connsiteY2" fmla="*/ 3624262 h 3624262"/>
              <a:gd name="connsiteX3" fmla="*/ 0 w 4495803"/>
              <a:gd name="connsiteY3" fmla="*/ 3624262 h 3624262"/>
              <a:gd name="connsiteX4" fmla="*/ 0 w 4495803"/>
              <a:gd name="connsiteY4" fmla="*/ 0 h 3624262"/>
              <a:gd name="connsiteX0" fmla="*/ 0 w 4495803"/>
              <a:gd name="connsiteY0" fmla="*/ 0 h 3624262"/>
              <a:gd name="connsiteX1" fmla="*/ 2762253 w 4495803"/>
              <a:gd name="connsiteY1" fmla="*/ 1 h 3624262"/>
              <a:gd name="connsiteX2" fmla="*/ 4495803 w 4495803"/>
              <a:gd name="connsiteY2" fmla="*/ 3624262 h 3624262"/>
              <a:gd name="connsiteX3" fmla="*/ 1731168 w 4495803"/>
              <a:gd name="connsiteY3" fmla="*/ 3624262 h 3624262"/>
              <a:gd name="connsiteX4" fmla="*/ 0 w 4495803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95803" h="3624262">
                <a:moveTo>
                  <a:pt x="0" y="0"/>
                </a:moveTo>
                <a:lnTo>
                  <a:pt x="2762253" y="1"/>
                </a:lnTo>
                <a:lnTo>
                  <a:pt x="4495803" y="3624262"/>
                </a:lnTo>
                <a:lnTo>
                  <a:pt x="1731168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7775D768-A633-4118-B5C7-2F3DFD9F52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866598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21">
            <a:extLst>
              <a:ext uri="{FF2B5EF4-FFF2-40B4-BE49-F238E27FC236}">
                <a16:creationId xmlns:a16="http://schemas.microsoft.com/office/drawing/2014/main" id="{F6835963-99FF-4A3C-A109-A75FC6EBCFB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0719" y="365599"/>
            <a:ext cx="5063170" cy="1739537"/>
          </a:xfrm>
          <a:custGeom>
            <a:avLst/>
            <a:gdLst>
              <a:gd name="connsiteX0" fmla="*/ 0 w 5063169"/>
              <a:gd name="connsiteY0" fmla="*/ 0 h 3624262"/>
              <a:gd name="connsiteX1" fmla="*/ 5063169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0 h 3624262"/>
              <a:gd name="connsiteX1" fmla="*/ 3336551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2620 h 3626882"/>
              <a:gd name="connsiteX1" fmla="*/ 333393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620 h 3626882"/>
              <a:gd name="connsiteX1" fmla="*/ 332869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38 h 3624500"/>
              <a:gd name="connsiteX1" fmla="*/ 3331072 w 5063169"/>
              <a:gd name="connsiteY1" fmla="*/ 0 h 3624500"/>
              <a:gd name="connsiteX2" fmla="*/ 5063169 w 5063169"/>
              <a:gd name="connsiteY2" fmla="*/ 3624500 h 3624500"/>
              <a:gd name="connsiteX3" fmla="*/ 0 w 5063169"/>
              <a:gd name="connsiteY3" fmla="*/ 3624500 h 3624500"/>
              <a:gd name="connsiteX4" fmla="*/ 0 w 5063169"/>
              <a:gd name="connsiteY4" fmla="*/ 238 h 362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3169" h="3624500">
                <a:moveTo>
                  <a:pt x="0" y="238"/>
                </a:moveTo>
                <a:lnTo>
                  <a:pt x="3331072" y="0"/>
                </a:lnTo>
                <a:lnTo>
                  <a:pt x="5063169" y="3624500"/>
                </a:lnTo>
                <a:lnTo>
                  <a:pt x="0" y="3624500"/>
                </a:lnTo>
                <a:lnTo>
                  <a:pt x="0" y="238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Bildplatzhalter 21">
            <a:extLst>
              <a:ext uri="{FF2B5EF4-FFF2-40B4-BE49-F238E27FC236}">
                <a16:creationId xmlns:a16="http://schemas.microsoft.com/office/drawing/2014/main" id="{0477E770-F5E0-401B-BCB0-9D9D8A0355C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3053" y="365715"/>
            <a:ext cx="5070950" cy="856894"/>
          </a:xfrm>
          <a:custGeom>
            <a:avLst/>
            <a:gdLst>
              <a:gd name="connsiteX0" fmla="*/ 0 w 5070950"/>
              <a:gd name="connsiteY0" fmla="*/ 0 h 1785424"/>
              <a:gd name="connsiteX1" fmla="*/ 5070950 w 5070950"/>
              <a:gd name="connsiteY1" fmla="*/ 0 h 1785424"/>
              <a:gd name="connsiteX2" fmla="*/ 5070950 w 5070950"/>
              <a:gd name="connsiteY2" fmla="*/ 1785424 h 1785424"/>
              <a:gd name="connsiteX3" fmla="*/ 0 w 5070950"/>
              <a:gd name="connsiteY3" fmla="*/ 1785424 h 1785424"/>
              <a:gd name="connsiteX4" fmla="*/ 0 w 5070950"/>
              <a:gd name="connsiteY4" fmla="*/ 0 h 1785424"/>
              <a:gd name="connsiteX0" fmla="*/ 0 w 5070950"/>
              <a:gd name="connsiteY0" fmla="*/ 0 h 1785424"/>
              <a:gd name="connsiteX1" fmla="*/ 5070950 w 5070950"/>
              <a:gd name="connsiteY1" fmla="*/ 0 h 1785424"/>
              <a:gd name="connsiteX2" fmla="*/ 5070950 w 5070950"/>
              <a:gd name="connsiteY2" fmla="*/ 1785424 h 1785424"/>
              <a:gd name="connsiteX3" fmla="*/ 854869 w 5070950"/>
              <a:gd name="connsiteY3" fmla="*/ 1785424 h 1785424"/>
              <a:gd name="connsiteX4" fmla="*/ 0 w 5070950"/>
              <a:gd name="connsiteY4" fmla="*/ 0 h 1785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1785424">
                <a:moveTo>
                  <a:pt x="0" y="0"/>
                </a:moveTo>
                <a:lnTo>
                  <a:pt x="5070950" y="0"/>
                </a:lnTo>
                <a:lnTo>
                  <a:pt x="5070950" y="1785424"/>
                </a:lnTo>
                <a:lnTo>
                  <a:pt x="854869" y="178542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21">
            <a:extLst>
              <a:ext uri="{FF2B5EF4-FFF2-40B4-BE49-F238E27FC236}">
                <a16:creationId xmlns:a16="http://schemas.microsoft.com/office/drawing/2014/main" id="{338637C0-A93B-4AA6-A323-B2CD84B1C1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950620" y="1245957"/>
            <a:ext cx="4193380" cy="859179"/>
          </a:xfrm>
          <a:custGeom>
            <a:avLst/>
            <a:gdLst>
              <a:gd name="connsiteX0" fmla="*/ 0 w 3338511"/>
              <a:gd name="connsiteY0" fmla="*/ 0 h 1790188"/>
              <a:gd name="connsiteX1" fmla="*/ 3338511 w 3338511"/>
              <a:gd name="connsiteY1" fmla="*/ 0 h 1790188"/>
              <a:gd name="connsiteX2" fmla="*/ 3338511 w 3338511"/>
              <a:gd name="connsiteY2" fmla="*/ 1790188 h 1790188"/>
              <a:gd name="connsiteX3" fmla="*/ 0 w 3338511"/>
              <a:gd name="connsiteY3" fmla="*/ 1790188 h 1790188"/>
              <a:gd name="connsiteX4" fmla="*/ 0 w 3338511"/>
              <a:gd name="connsiteY4" fmla="*/ 0 h 1790188"/>
              <a:gd name="connsiteX0" fmla="*/ 0 w 4190998"/>
              <a:gd name="connsiteY0" fmla="*/ 2381 h 1790188"/>
              <a:gd name="connsiteX1" fmla="*/ 4190998 w 4190998"/>
              <a:gd name="connsiteY1" fmla="*/ 0 h 1790188"/>
              <a:gd name="connsiteX2" fmla="*/ 4190998 w 4190998"/>
              <a:gd name="connsiteY2" fmla="*/ 1790188 h 1790188"/>
              <a:gd name="connsiteX3" fmla="*/ 852487 w 4190998"/>
              <a:gd name="connsiteY3" fmla="*/ 1790188 h 1790188"/>
              <a:gd name="connsiteX4" fmla="*/ 0 w 4190998"/>
              <a:gd name="connsiteY4" fmla="*/ 2381 h 1790188"/>
              <a:gd name="connsiteX0" fmla="*/ 0 w 4193380"/>
              <a:gd name="connsiteY0" fmla="*/ 0 h 1790188"/>
              <a:gd name="connsiteX1" fmla="*/ 4193380 w 4193380"/>
              <a:gd name="connsiteY1" fmla="*/ 0 h 1790188"/>
              <a:gd name="connsiteX2" fmla="*/ 4193380 w 4193380"/>
              <a:gd name="connsiteY2" fmla="*/ 1790188 h 1790188"/>
              <a:gd name="connsiteX3" fmla="*/ 854869 w 4193380"/>
              <a:gd name="connsiteY3" fmla="*/ 1790188 h 1790188"/>
              <a:gd name="connsiteX4" fmla="*/ 0 w 4193380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93380" h="1790188">
                <a:moveTo>
                  <a:pt x="0" y="0"/>
                </a:moveTo>
                <a:lnTo>
                  <a:pt x="4193380" y="0"/>
                </a:lnTo>
                <a:lnTo>
                  <a:pt x="4193380" y="1790188"/>
                </a:lnTo>
                <a:lnTo>
                  <a:pt x="854869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2A34CF17-47B0-4417-B30F-BDEA62A858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5998964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0FB9F193-AE4C-4A2A-8E95-3F077B73C0F8}"/>
              </a:ext>
            </a:extLst>
          </p:cNvPr>
          <p:cNvSpPr/>
          <p:nvPr userDrawn="1"/>
        </p:nvSpPr>
        <p:spPr>
          <a:xfrm>
            <a:off x="0" y="5"/>
            <a:ext cx="858062" cy="24685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lvl="0" algn="ctr"/>
            <a:endParaRPr lang="de-DE" sz="2670" dirty="0" err="1">
              <a:latin typeface="+mj-lt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AAF3A9F-E821-499A-BEC2-27A3632A7486}"/>
              </a:ext>
            </a:extLst>
          </p:cNvPr>
          <p:cNvSpPr/>
          <p:nvPr userDrawn="1"/>
        </p:nvSpPr>
        <p:spPr>
          <a:xfrm>
            <a:off x="684216" y="363428"/>
            <a:ext cx="8459788" cy="174170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2" y="763"/>
          <a:ext cx="1588" cy="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763"/>
                        <a:ext cx="1588" cy="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3">
            <a:extLst>
              <a:ext uri="{FF2B5EF4-FFF2-40B4-BE49-F238E27FC236}">
                <a16:creationId xmlns:a16="http://schemas.microsoft.com/office/drawing/2014/main" id="{A94BD3BE-CC83-4E02-96D3-23D47B3323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9734" y="485233"/>
            <a:ext cx="7955151" cy="149671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66957" indent="-266957">
              <a:spcBef>
                <a:spcPts val="889"/>
              </a:spcBef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1pPr>
            <a:lvl2pPr marL="800875" indent="-266957">
              <a:spcBef>
                <a:spcPts val="889"/>
              </a:spcBef>
              <a:defRPr sz="1600">
                <a:solidFill>
                  <a:schemeClr val="tx1"/>
                </a:solidFill>
              </a:defRPr>
            </a:lvl2pPr>
            <a:lvl3pPr marL="1601750" indent="-266957">
              <a:spcBef>
                <a:spcPts val="889"/>
              </a:spcBef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3pPr>
            <a:lvl4pPr>
              <a:spcBef>
                <a:spcPts val="889"/>
              </a:spcBef>
              <a:defRPr sz="1600">
                <a:solidFill>
                  <a:schemeClr val="tx1"/>
                </a:solidFill>
              </a:defRPr>
            </a:lvl4pPr>
            <a:lvl5pPr>
              <a:spcBef>
                <a:spcPts val="889"/>
              </a:spcBef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F0A194CD-87B2-48D6-8512-8705C295B1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18306520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21">
            <a:extLst>
              <a:ext uri="{FF2B5EF4-FFF2-40B4-BE49-F238E27FC236}">
                <a16:creationId xmlns:a16="http://schemas.microsoft.com/office/drawing/2014/main" id="{BCB5A6FE-F83F-481B-A44E-00154892950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0721" y="1245957"/>
            <a:ext cx="3223497" cy="859179"/>
          </a:xfrm>
          <a:custGeom>
            <a:avLst/>
            <a:gdLst>
              <a:gd name="connsiteX0" fmla="*/ 0 w 3223495"/>
              <a:gd name="connsiteY0" fmla="*/ 0 h 1790188"/>
              <a:gd name="connsiteX1" fmla="*/ 3223495 w 3223495"/>
              <a:gd name="connsiteY1" fmla="*/ 0 h 1790188"/>
              <a:gd name="connsiteX2" fmla="*/ 3223495 w 3223495"/>
              <a:gd name="connsiteY2" fmla="*/ 1790188 h 1790188"/>
              <a:gd name="connsiteX3" fmla="*/ 0 w 3223495"/>
              <a:gd name="connsiteY3" fmla="*/ 1790188 h 1790188"/>
              <a:gd name="connsiteX4" fmla="*/ 0 w 3223495"/>
              <a:gd name="connsiteY4" fmla="*/ 0 h 1790188"/>
              <a:gd name="connsiteX0" fmla="*/ 0 w 3223495"/>
              <a:gd name="connsiteY0" fmla="*/ 0 h 1790188"/>
              <a:gd name="connsiteX1" fmla="*/ 2371940 w 3223495"/>
              <a:gd name="connsiteY1" fmla="*/ 3142 h 1790188"/>
              <a:gd name="connsiteX2" fmla="*/ 3223495 w 3223495"/>
              <a:gd name="connsiteY2" fmla="*/ 1790188 h 1790188"/>
              <a:gd name="connsiteX3" fmla="*/ 0 w 3223495"/>
              <a:gd name="connsiteY3" fmla="*/ 1790188 h 1790188"/>
              <a:gd name="connsiteX4" fmla="*/ 0 w 3223495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3495" h="1790188">
                <a:moveTo>
                  <a:pt x="0" y="0"/>
                </a:moveTo>
                <a:lnTo>
                  <a:pt x="2371940" y="3142"/>
                </a:lnTo>
                <a:lnTo>
                  <a:pt x="3223495" y="1790188"/>
                </a:lnTo>
                <a:lnTo>
                  <a:pt x="0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4" name="Bildplatzhalter 21">
            <a:extLst>
              <a:ext uri="{FF2B5EF4-FFF2-40B4-BE49-F238E27FC236}">
                <a16:creationId xmlns:a16="http://schemas.microsoft.com/office/drawing/2014/main" id="{B1BB259A-7D20-4F2B-8A88-6221557211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19615" y="365715"/>
            <a:ext cx="4624388" cy="856894"/>
          </a:xfrm>
          <a:custGeom>
            <a:avLst/>
            <a:gdLst>
              <a:gd name="connsiteX0" fmla="*/ 0 w 4624386"/>
              <a:gd name="connsiteY0" fmla="*/ 0 h 1785424"/>
              <a:gd name="connsiteX1" fmla="*/ 4624386 w 4624386"/>
              <a:gd name="connsiteY1" fmla="*/ 0 h 1785424"/>
              <a:gd name="connsiteX2" fmla="*/ 4624386 w 4624386"/>
              <a:gd name="connsiteY2" fmla="*/ 1785424 h 1785424"/>
              <a:gd name="connsiteX3" fmla="*/ 0 w 4624386"/>
              <a:gd name="connsiteY3" fmla="*/ 1785424 h 1785424"/>
              <a:gd name="connsiteX4" fmla="*/ 0 w 4624386"/>
              <a:gd name="connsiteY4" fmla="*/ 0 h 1785424"/>
              <a:gd name="connsiteX0" fmla="*/ 0 w 4624386"/>
              <a:gd name="connsiteY0" fmla="*/ 0 h 1785424"/>
              <a:gd name="connsiteX1" fmla="*/ 4624386 w 4624386"/>
              <a:gd name="connsiteY1" fmla="*/ 0 h 1785424"/>
              <a:gd name="connsiteX2" fmla="*/ 4624386 w 4624386"/>
              <a:gd name="connsiteY2" fmla="*/ 1785424 h 1785424"/>
              <a:gd name="connsiteX3" fmla="*/ 854869 w 4624386"/>
              <a:gd name="connsiteY3" fmla="*/ 1785424 h 1785424"/>
              <a:gd name="connsiteX4" fmla="*/ 0 w 4624386"/>
              <a:gd name="connsiteY4" fmla="*/ 0 h 1785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24386" h="1785424">
                <a:moveTo>
                  <a:pt x="0" y="0"/>
                </a:moveTo>
                <a:lnTo>
                  <a:pt x="4624386" y="0"/>
                </a:lnTo>
                <a:lnTo>
                  <a:pt x="4624386" y="1785424"/>
                </a:lnTo>
                <a:lnTo>
                  <a:pt x="854869" y="178542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5" name="Bildplatzhalter 21">
            <a:extLst>
              <a:ext uri="{FF2B5EF4-FFF2-40B4-BE49-F238E27FC236}">
                <a16:creationId xmlns:a16="http://schemas.microsoft.com/office/drawing/2014/main" id="{D1D97D89-3380-41C0-A5E9-03F9AD14915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0720" y="365715"/>
            <a:ext cx="4628999" cy="856894"/>
          </a:xfrm>
          <a:custGeom>
            <a:avLst/>
            <a:gdLst>
              <a:gd name="connsiteX0" fmla="*/ 0 w 4628998"/>
              <a:gd name="connsiteY0" fmla="*/ 0 h 1785424"/>
              <a:gd name="connsiteX1" fmla="*/ 4628998 w 4628998"/>
              <a:gd name="connsiteY1" fmla="*/ 0 h 1785424"/>
              <a:gd name="connsiteX2" fmla="*/ 4628998 w 4628998"/>
              <a:gd name="connsiteY2" fmla="*/ 1785424 h 1785424"/>
              <a:gd name="connsiteX3" fmla="*/ 0 w 4628998"/>
              <a:gd name="connsiteY3" fmla="*/ 1785424 h 1785424"/>
              <a:gd name="connsiteX4" fmla="*/ 0 w 4628998"/>
              <a:gd name="connsiteY4" fmla="*/ 0 h 1785424"/>
              <a:gd name="connsiteX0" fmla="*/ 0 w 4628998"/>
              <a:gd name="connsiteY0" fmla="*/ 0 h 1785424"/>
              <a:gd name="connsiteX1" fmla="*/ 3781273 w 4628998"/>
              <a:gd name="connsiteY1" fmla="*/ 0 h 1785424"/>
              <a:gd name="connsiteX2" fmla="*/ 4628998 w 4628998"/>
              <a:gd name="connsiteY2" fmla="*/ 1785424 h 1785424"/>
              <a:gd name="connsiteX3" fmla="*/ 0 w 4628998"/>
              <a:gd name="connsiteY3" fmla="*/ 1785424 h 1785424"/>
              <a:gd name="connsiteX4" fmla="*/ 0 w 4628998"/>
              <a:gd name="connsiteY4" fmla="*/ 0 h 1785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28998" h="1785424">
                <a:moveTo>
                  <a:pt x="0" y="0"/>
                </a:moveTo>
                <a:lnTo>
                  <a:pt x="3781273" y="0"/>
                </a:lnTo>
                <a:lnTo>
                  <a:pt x="4628998" y="1785424"/>
                </a:lnTo>
                <a:lnTo>
                  <a:pt x="0" y="178542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Bildplatzhalter 21">
            <a:extLst>
              <a:ext uri="{FF2B5EF4-FFF2-40B4-BE49-F238E27FC236}">
                <a16:creationId xmlns:a16="http://schemas.microsoft.com/office/drawing/2014/main" id="{2B135A71-655E-43AC-8825-9C0FB6E91C7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119640" y="1245957"/>
            <a:ext cx="3611487" cy="859179"/>
          </a:xfrm>
          <a:custGeom>
            <a:avLst/>
            <a:gdLst>
              <a:gd name="connsiteX0" fmla="*/ 0 w 3223495"/>
              <a:gd name="connsiteY0" fmla="*/ 0 h 1790188"/>
              <a:gd name="connsiteX1" fmla="*/ 3223495 w 3223495"/>
              <a:gd name="connsiteY1" fmla="*/ 0 h 1790188"/>
              <a:gd name="connsiteX2" fmla="*/ 3223495 w 3223495"/>
              <a:gd name="connsiteY2" fmla="*/ 1790188 h 1790188"/>
              <a:gd name="connsiteX3" fmla="*/ 0 w 3223495"/>
              <a:gd name="connsiteY3" fmla="*/ 1790188 h 1790188"/>
              <a:gd name="connsiteX4" fmla="*/ 0 w 3223495"/>
              <a:gd name="connsiteY4" fmla="*/ 0 h 1790188"/>
              <a:gd name="connsiteX0" fmla="*/ 0 w 4068838"/>
              <a:gd name="connsiteY0" fmla="*/ 2381 h 1790188"/>
              <a:gd name="connsiteX1" fmla="*/ 4068838 w 4068838"/>
              <a:gd name="connsiteY1" fmla="*/ 0 h 1790188"/>
              <a:gd name="connsiteX2" fmla="*/ 4068838 w 4068838"/>
              <a:gd name="connsiteY2" fmla="*/ 1790188 h 1790188"/>
              <a:gd name="connsiteX3" fmla="*/ 845343 w 4068838"/>
              <a:gd name="connsiteY3" fmla="*/ 1790188 h 1790188"/>
              <a:gd name="connsiteX4" fmla="*/ 0 w 4068838"/>
              <a:gd name="connsiteY4" fmla="*/ 2381 h 1790188"/>
              <a:gd name="connsiteX0" fmla="*/ 0 w 4071220"/>
              <a:gd name="connsiteY0" fmla="*/ 2381 h 1790188"/>
              <a:gd name="connsiteX1" fmla="*/ 4071220 w 4071220"/>
              <a:gd name="connsiteY1" fmla="*/ 0 h 1790188"/>
              <a:gd name="connsiteX2" fmla="*/ 4071220 w 4071220"/>
              <a:gd name="connsiteY2" fmla="*/ 1790188 h 1790188"/>
              <a:gd name="connsiteX3" fmla="*/ 847725 w 4071220"/>
              <a:gd name="connsiteY3" fmla="*/ 1790188 h 1790188"/>
              <a:gd name="connsiteX4" fmla="*/ 0 w 4071220"/>
              <a:gd name="connsiteY4" fmla="*/ 2381 h 1790188"/>
              <a:gd name="connsiteX0" fmla="*/ 0 w 4071220"/>
              <a:gd name="connsiteY0" fmla="*/ 0 h 1790188"/>
              <a:gd name="connsiteX1" fmla="*/ 4071220 w 4071220"/>
              <a:gd name="connsiteY1" fmla="*/ 0 h 1790188"/>
              <a:gd name="connsiteX2" fmla="*/ 4071220 w 4071220"/>
              <a:gd name="connsiteY2" fmla="*/ 1790188 h 1790188"/>
              <a:gd name="connsiteX3" fmla="*/ 847725 w 4071220"/>
              <a:gd name="connsiteY3" fmla="*/ 1790188 h 1790188"/>
              <a:gd name="connsiteX4" fmla="*/ 0 w 4071220"/>
              <a:gd name="connsiteY4" fmla="*/ 0 h 1790188"/>
              <a:gd name="connsiteX0" fmla="*/ 0 w 4071220"/>
              <a:gd name="connsiteY0" fmla="*/ 0 h 1790188"/>
              <a:gd name="connsiteX1" fmla="*/ 2761532 w 4071220"/>
              <a:gd name="connsiteY1" fmla="*/ 0 h 1790188"/>
              <a:gd name="connsiteX2" fmla="*/ 4071220 w 4071220"/>
              <a:gd name="connsiteY2" fmla="*/ 1790188 h 1790188"/>
              <a:gd name="connsiteX3" fmla="*/ 847725 w 4071220"/>
              <a:gd name="connsiteY3" fmla="*/ 1790188 h 1790188"/>
              <a:gd name="connsiteX4" fmla="*/ 0 w 4071220"/>
              <a:gd name="connsiteY4" fmla="*/ 0 h 1790188"/>
              <a:gd name="connsiteX0" fmla="*/ 0 w 3616401"/>
              <a:gd name="connsiteY0" fmla="*/ 0 h 1790188"/>
              <a:gd name="connsiteX1" fmla="*/ 2761532 w 3616401"/>
              <a:gd name="connsiteY1" fmla="*/ 0 h 1790188"/>
              <a:gd name="connsiteX2" fmla="*/ 3616401 w 3616401"/>
              <a:gd name="connsiteY2" fmla="*/ 1790188 h 1790188"/>
              <a:gd name="connsiteX3" fmla="*/ 847725 w 3616401"/>
              <a:gd name="connsiteY3" fmla="*/ 1790188 h 1790188"/>
              <a:gd name="connsiteX4" fmla="*/ 0 w 3616401"/>
              <a:gd name="connsiteY4" fmla="*/ 0 h 1790188"/>
              <a:gd name="connsiteX0" fmla="*/ 0 w 3616401"/>
              <a:gd name="connsiteY0" fmla="*/ 0 h 1790188"/>
              <a:gd name="connsiteX1" fmla="*/ 2754157 w 3616401"/>
              <a:gd name="connsiteY1" fmla="*/ 0 h 1790188"/>
              <a:gd name="connsiteX2" fmla="*/ 3616401 w 3616401"/>
              <a:gd name="connsiteY2" fmla="*/ 1790188 h 1790188"/>
              <a:gd name="connsiteX3" fmla="*/ 847725 w 3616401"/>
              <a:gd name="connsiteY3" fmla="*/ 1790188 h 1790188"/>
              <a:gd name="connsiteX4" fmla="*/ 0 w 3616401"/>
              <a:gd name="connsiteY4" fmla="*/ 0 h 1790188"/>
              <a:gd name="connsiteX0" fmla="*/ 0 w 3611485"/>
              <a:gd name="connsiteY0" fmla="*/ 0 h 1790188"/>
              <a:gd name="connsiteX1" fmla="*/ 2754157 w 3611485"/>
              <a:gd name="connsiteY1" fmla="*/ 0 h 1790188"/>
              <a:gd name="connsiteX2" fmla="*/ 3611485 w 3611485"/>
              <a:gd name="connsiteY2" fmla="*/ 1790188 h 1790188"/>
              <a:gd name="connsiteX3" fmla="*/ 847725 w 3611485"/>
              <a:gd name="connsiteY3" fmla="*/ 1790188 h 1790188"/>
              <a:gd name="connsiteX4" fmla="*/ 0 w 3611485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1485" h="1790188">
                <a:moveTo>
                  <a:pt x="0" y="0"/>
                </a:moveTo>
                <a:lnTo>
                  <a:pt x="2754157" y="0"/>
                </a:lnTo>
                <a:lnTo>
                  <a:pt x="3611485" y="1790188"/>
                </a:lnTo>
                <a:lnTo>
                  <a:pt x="847725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7" name="Bildplatzhalter 21">
            <a:extLst>
              <a:ext uri="{FF2B5EF4-FFF2-40B4-BE49-F238E27FC236}">
                <a16:creationId xmlns:a16="http://schemas.microsoft.com/office/drawing/2014/main" id="{DCFB798B-032F-40A6-AE3A-243C82FD9EC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26935" y="1245957"/>
            <a:ext cx="3217069" cy="859179"/>
          </a:xfrm>
          <a:custGeom>
            <a:avLst/>
            <a:gdLst>
              <a:gd name="connsiteX0" fmla="*/ 0 w 3217069"/>
              <a:gd name="connsiteY0" fmla="*/ 0 h 1790188"/>
              <a:gd name="connsiteX1" fmla="*/ 3217069 w 3217069"/>
              <a:gd name="connsiteY1" fmla="*/ 0 h 1790188"/>
              <a:gd name="connsiteX2" fmla="*/ 3217069 w 3217069"/>
              <a:gd name="connsiteY2" fmla="*/ 1790188 h 1790188"/>
              <a:gd name="connsiteX3" fmla="*/ 0 w 3217069"/>
              <a:gd name="connsiteY3" fmla="*/ 1790188 h 1790188"/>
              <a:gd name="connsiteX4" fmla="*/ 0 w 3217069"/>
              <a:gd name="connsiteY4" fmla="*/ 0 h 1790188"/>
              <a:gd name="connsiteX0" fmla="*/ 0 w 3217069"/>
              <a:gd name="connsiteY0" fmla="*/ 0 h 1790188"/>
              <a:gd name="connsiteX1" fmla="*/ 3217069 w 3217069"/>
              <a:gd name="connsiteY1" fmla="*/ 0 h 1790188"/>
              <a:gd name="connsiteX2" fmla="*/ 3217069 w 3217069"/>
              <a:gd name="connsiteY2" fmla="*/ 1790188 h 1790188"/>
              <a:gd name="connsiteX3" fmla="*/ 852488 w 3217069"/>
              <a:gd name="connsiteY3" fmla="*/ 1790188 h 1790188"/>
              <a:gd name="connsiteX4" fmla="*/ 0 w 3217069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7069" h="1790188">
                <a:moveTo>
                  <a:pt x="0" y="0"/>
                </a:moveTo>
                <a:lnTo>
                  <a:pt x="3217069" y="0"/>
                </a:lnTo>
                <a:lnTo>
                  <a:pt x="3217069" y="1790188"/>
                </a:lnTo>
                <a:lnTo>
                  <a:pt x="852488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3D3AFB44-2835-4DFF-8494-E551BDA84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455942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leere Folie (ohne Überschrift &amp; Contentberei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winkliges Dreieck 1">
            <a:extLst>
              <a:ext uri="{FF2B5EF4-FFF2-40B4-BE49-F238E27FC236}">
                <a16:creationId xmlns:a16="http://schemas.microsoft.com/office/drawing/2014/main" id="{6A8FDD1B-3C1E-4FF2-8C55-FD9C0BD96512}"/>
              </a:ext>
            </a:extLst>
          </p:cNvPr>
          <p:cNvSpPr/>
          <p:nvPr userDrawn="1"/>
        </p:nvSpPr>
        <p:spPr>
          <a:xfrm>
            <a:off x="4" y="0"/>
            <a:ext cx="4133850" cy="2468563"/>
          </a:xfrm>
          <a:custGeom>
            <a:avLst/>
            <a:gdLst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2717800 w 2717800"/>
              <a:gd name="connsiteY2" fmla="*/ 4386262 h 4386262"/>
              <a:gd name="connsiteX3" fmla="*/ 0 w 2717800"/>
              <a:gd name="connsiteY3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416966 w 2717800"/>
              <a:gd name="connsiteY2" fmla="*/ 676541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687629 w 2717800"/>
              <a:gd name="connsiteY2" fmla="*/ 3543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687629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1565453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3602" h="4386262">
                <a:moveTo>
                  <a:pt x="0" y="4386262"/>
                </a:moveTo>
                <a:lnTo>
                  <a:pt x="0" y="0"/>
                </a:lnTo>
                <a:lnTo>
                  <a:pt x="1565453" y="3543"/>
                </a:lnTo>
                <a:lnTo>
                  <a:pt x="3873602" y="4386262"/>
                </a:lnTo>
                <a:lnTo>
                  <a:pt x="0" y="43862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 eaLnBrk="1"/>
            <a:endParaRPr lang="de-DE" sz="2670" dirty="0">
              <a:latin typeface="+mj-lt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271C1616-0B5C-4DF7-8B2F-962511F31CE0}"/>
              </a:ext>
            </a:extLst>
          </p:cNvPr>
          <p:cNvSpPr/>
          <p:nvPr userDrawn="1"/>
        </p:nvSpPr>
        <p:spPr>
          <a:xfrm>
            <a:off x="-1283" y="2167790"/>
            <a:ext cx="644917" cy="180308"/>
          </a:xfrm>
          <a:custGeom>
            <a:avLst/>
            <a:gdLst>
              <a:gd name="connsiteX0" fmla="*/ 0 w 407233"/>
              <a:gd name="connsiteY0" fmla="*/ 0 h 374401"/>
              <a:gd name="connsiteX1" fmla="*/ 407233 w 407233"/>
              <a:gd name="connsiteY1" fmla="*/ 0 h 374401"/>
              <a:gd name="connsiteX2" fmla="*/ 407233 w 407233"/>
              <a:gd name="connsiteY2" fmla="*/ 374401 h 374401"/>
              <a:gd name="connsiteX3" fmla="*/ 0 w 407233"/>
              <a:gd name="connsiteY3" fmla="*/ 374401 h 374401"/>
              <a:gd name="connsiteX4" fmla="*/ 0 w 407233"/>
              <a:gd name="connsiteY4" fmla="*/ 0 h 374401"/>
              <a:gd name="connsiteX0" fmla="*/ 0 w 592112"/>
              <a:gd name="connsiteY0" fmla="*/ 0 h 374401"/>
              <a:gd name="connsiteX1" fmla="*/ 592112 w 592112"/>
              <a:gd name="connsiteY1" fmla="*/ 2499 h 374401"/>
              <a:gd name="connsiteX2" fmla="*/ 407233 w 592112"/>
              <a:gd name="connsiteY2" fmla="*/ 374401 h 374401"/>
              <a:gd name="connsiteX3" fmla="*/ 0 w 592112"/>
              <a:gd name="connsiteY3" fmla="*/ 374401 h 374401"/>
              <a:gd name="connsiteX4" fmla="*/ 0 w 592112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07233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53597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465841"/>
              <a:gd name="connsiteX1" fmla="*/ 643627 w 643627"/>
              <a:gd name="connsiteY1" fmla="*/ 2499 h 465841"/>
              <a:gd name="connsiteX2" fmla="*/ 453597 w 643627"/>
              <a:gd name="connsiteY2" fmla="*/ 374401 h 465841"/>
              <a:gd name="connsiteX3" fmla="*/ 91440 w 643627"/>
              <a:gd name="connsiteY3" fmla="*/ 465841 h 465841"/>
              <a:gd name="connsiteX0" fmla="*/ 1288 w 644915"/>
              <a:gd name="connsiteY0" fmla="*/ 0 h 375689"/>
              <a:gd name="connsiteX1" fmla="*/ 644915 w 644915"/>
              <a:gd name="connsiteY1" fmla="*/ 2499 h 375689"/>
              <a:gd name="connsiteX2" fmla="*/ 454885 w 644915"/>
              <a:gd name="connsiteY2" fmla="*/ 374401 h 375689"/>
              <a:gd name="connsiteX3" fmla="*/ 0 w 644915"/>
              <a:gd name="connsiteY3" fmla="*/ 375689 h 375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915" h="375689">
                <a:moveTo>
                  <a:pt x="1288" y="0"/>
                </a:moveTo>
                <a:lnTo>
                  <a:pt x="644915" y="2499"/>
                </a:lnTo>
                <a:lnTo>
                  <a:pt x="454885" y="374401"/>
                </a:lnTo>
                <a:lnTo>
                  <a:pt x="0" y="375689"/>
                </a:lnTo>
              </a:path>
            </a:pathLst>
          </a:custGeom>
          <a:solidFill>
            <a:schemeClr val="bg1"/>
          </a:solidFill>
          <a:ln w="3175">
            <a:noFill/>
          </a:ln>
          <a:effectLst>
            <a:outerShdw blurRad="190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 fontScale="25000" lnSpcReduction="20000"/>
          </a:bodyPr>
          <a:lstStyle/>
          <a:p>
            <a:pPr algn="ctr"/>
            <a:endParaRPr lang="de-DE" sz="2670" dirty="0">
              <a:latin typeface="+mj-lt"/>
            </a:endParaRPr>
          </a:p>
        </p:txBody>
      </p:sp>
      <p:sp>
        <p:nvSpPr>
          <p:cNvPr id="6" name="textBoxPageXFromY">
            <a:extLst>
              <a:ext uri="{FF2B5EF4-FFF2-40B4-BE49-F238E27FC236}">
                <a16:creationId xmlns:a16="http://schemas.microsoft.com/office/drawing/2014/main" id="{4CACF3C0-820D-4E32-A662-70C751300069}"/>
              </a:ext>
            </a:extLst>
          </p:cNvPr>
          <p:cNvSpPr txBox="1">
            <a:spLocks/>
          </p:cNvSpPr>
          <p:nvPr userDrawn="1"/>
        </p:nvSpPr>
        <p:spPr>
          <a:xfrm>
            <a:off x="-1286" y="2197164"/>
            <a:ext cx="534089" cy="13180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9A2F21-4C61-4C7B-ACD9-58995BD3F758}" type="slidenum">
              <a:rPr lang="de-DE" sz="1200" smtClean="0"/>
              <a:t>‹#›</a:t>
            </a:fld>
            <a:endParaRPr lang="de-DE" sz="1200" dirty="0"/>
          </a:p>
        </p:txBody>
      </p:sp>
      <p:grpSp>
        <p:nvGrpSpPr>
          <p:cNvPr id="8" name="picPorsche">
            <a:extLst>
              <a:ext uri="{FF2B5EF4-FFF2-40B4-BE49-F238E27FC236}">
                <a16:creationId xmlns:a16="http://schemas.microsoft.com/office/drawing/2014/main" id="{79E2F1D2-F9BF-476D-951E-6BFD8B0C413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95960" y="2240344"/>
            <a:ext cx="1800000" cy="65064"/>
            <a:chOff x="3848100" y="2519363"/>
            <a:chExt cx="1452563" cy="109538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9A1C94E-D7CE-4614-BD4D-2F959E632D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813" y="2519363"/>
              <a:ext cx="196850" cy="109538"/>
            </a:xfrm>
            <a:custGeom>
              <a:avLst/>
              <a:gdLst>
                <a:gd name="T0" fmla="*/ 124 w 124"/>
                <a:gd name="T1" fmla="*/ 12 h 69"/>
                <a:gd name="T2" fmla="*/ 124 w 124"/>
                <a:gd name="T3" fmla="*/ 0 h 69"/>
                <a:gd name="T4" fmla="*/ 0 w 124"/>
                <a:gd name="T5" fmla="*/ 0 h 69"/>
                <a:gd name="T6" fmla="*/ 0 w 124"/>
                <a:gd name="T7" fmla="*/ 69 h 69"/>
                <a:gd name="T8" fmla="*/ 124 w 124"/>
                <a:gd name="T9" fmla="*/ 69 h 69"/>
                <a:gd name="T10" fmla="*/ 124 w 124"/>
                <a:gd name="T11" fmla="*/ 57 h 69"/>
                <a:gd name="T12" fmla="*/ 13 w 124"/>
                <a:gd name="T13" fmla="*/ 57 h 69"/>
                <a:gd name="T14" fmla="*/ 13 w 124"/>
                <a:gd name="T15" fmla="*/ 39 h 69"/>
                <a:gd name="T16" fmla="*/ 124 w 124"/>
                <a:gd name="T17" fmla="*/ 39 h 69"/>
                <a:gd name="T18" fmla="*/ 124 w 124"/>
                <a:gd name="T19" fmla="*/ 27 h 69"/>
                <a:gd name="T20" fmla="*/ 13 w 124"/>
                <a:gd name="T21" fmla="*/ 27 h 69"/>
                <a:gd name="T22" fmla="*/ 13 w 124"/>
                <a:gd name="T23" fmla="*/ 12 h 69"/>
                <a:gd name="T24" fmla="*/ 124 w 124"/>
                <a:gd name="T25" fmla="*/ 1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" h="69">
                  <a:moveTo>
                    <a:pt x="124" y="12"/>
                  </a:moveTo>
                  <a:lnTo>
                    <a:pt x="124" y="0"/>
                  </a:lnTo>
                  <a:lnTo>
                    <a:pt x="0" y="0"/>
                  </a:lnTo>
                  <a:lnTo>
                    <a:pt x="0" y="69"/>
                  </a:lnTo>
                  <a:lnTo>
                    <a:pt x="124" y="69"/>
                  </a:lnTo>
                  <a:lnTo>
                    <a:pt x="124" y="57"/>
                  </a:lnTo>
                  <a:lnTo>
                    <a:pt x="13" y="57"/>
                  </a:lnTo>
                  <a:lnTo>
                    <a:pt x="13" y="39"/>
                  </a:lnTo>
                  <a:lnTo>
                    <a:pt x="124" y="39"/>
                  </a:lnTo>
                  <a:lnTo>
                    <a:pt x="124" y="27"/>
                  </a:lnTo>
                  <a:lnTo>
                    <a:pt x="13" y="27"/>
                  </a:lnTo>
                  <a:lnTo>
                    <a:pt x="13" y="12"/>
                  </a:lnTo>
                  <a:lnTo>
                    <a:pt x="124" y="1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670" dirty="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D34DD7EF-69B2-4431-9FA9-B389E38B21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3788" y="2519363"/>
              <a:ext cx="174625" cy="109538"/>
            </a:xfrm>
            <a:custGeom>
              <a:avLst/>
              <a:gdLst>
                <a:gd name="T0" fmla="*/ 96 w 110"/>
                <a:gd name="T1" fmla="*/ 27 h 69"/>
                <a:gd name="T2" fmla="*/ 13 w 110"/>
                <a:gd name="T3" fmla="*/ 27 h 69"/>
                <a:gd name="T4" fmla="*/ 13 w 110"/>
                <a:gd name="T5" fmla="*/ 0 h 69"/>
                <a:gd name="T6" fmla="*/ 0 w 110"/>
                <a:gd name="T7" fmla="*/ 0 h 69"/>
                <a:gd name="T8" fmla="*/ 0 w 110"/>
                <a:gd name="T9" fmla="*/ 69 h 69"/>
                <a:gd name="T10" fmla="*/ 13 w 110"/>
                <a:gd name="T11" fmla="*/ 69 h 69"/>
                <a:gd name="T12" fmla="*/ 13 w 110"/>
                <a:gd name="T13" fmla="*/ 42 h 69"/>
                <a:gd name="T14" fmla="*/ 96 w 110"/>
                <a:gd name="T15" fmla="*/ 42 h 69"/>
                <a:gd name="T16" fmla="*/ 96 w 110"/>
                <a:gd name="T17" fmla="*/ 69 h 69"/>
                <a:gd name="T18" fmla="*/ 110 w 110"/>
                <a:gd name="T19" fmla="*/ 69 h 69"/>
                <a:gd name="T20" fmla="*/ 110 w 110"/>
                <a:gd name="T21" fmla="*/ 42 h 69"/>
                <a:gd name="T22" fmla="*/ 110 w 110"/>
                <a:gd name="T23" fmla="*/ 27 h 69"/>
                <a:gd name="T24" fmla="*/ 110 w 110"/>
                <a:gd name="T25" fmla="*/ 0 h 69"/>
                <a:gd name="T26" fmla="*/ 96 w 110"/>
                <a:gd name="T27" fmla="*/ 0 h 69"/>
                <a:gd name="T28" fmla="*/ 96 w 110"/>
                <a:gd name="T29" fmla="*/ 2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0" h="69">
                  <a:moveTo>
                    <a:pt x="96" y="27"/>
                  </a:moveTo>
                  <a:lnTo>
                    <a:pt x="13" y="27"/>
                  </a:lnTo>
                  <a:lnTo>
                    <a:pt x="13" y="0"/>
                  </a:lnTo>
                  <a:lnTo>
                    <a:pt x="0" y="0"/>
                  </a:lnTo>
                  <a:lnTo>
                    <a:pt x="0" y="69"/>
                  </a:lnTo>
                  <a:lnTo>
                    <a:pt x="13" y="69"/>
                  </a:lnTo>
                  <a:lnTo>
                    <a:pt x="13" y="42"/>
                  </a:lnTo>
                  <a:lnTo>
                    <a:pt x="96" y="42"/>
                  </a:lnTo>
                  <a:lnTo>
                    <a:pt x="96" y="69"/>
                  </a:lnTo>
                  <a:lnTo>
                    <a:pt x="110" y="69"/>
                  </a:lnTo>
                  <a:lnTo>
                    <a:pt x="110" y="42"/>
                  </a:lnTo>
                  <a:lnTo>
                    <a:pt x="110" y="27"/>
                  </a:lnTo>
                  <a:lnTo>
                    <a:pt x="110" y="0"/>
                  </a:lnTo>
                  <a:lnTo>
                    <a:pt x="96" y="0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670" dirty="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4D32ADAA-9BC8-4BE9-84A9-4255DEDE0E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97413" y="2519363"/>
              <a:ext cx="179388" cy="109538"/>
            </a:xfrm>
            <a:custGeom>
              <a:avLst/>
              <a:gdLst>
                <a:gd name="T0" fmla="*/ 0 w 42"/>
                <a:gd name="T1" fmla="*/ 5 h 23"/>
                <a:gd name="T2" fmla="*/ 0 w 42"/>
                <a:gd name="T3" fmla="*/ 18 h 23"/>
                <a:gd name="T4" fmla="*/ 5 w 42"/>
                <a:gd name="T5" fmla="*/ 23 h 23"/>
                <a:gd name="T6" fmla="*/ 42 w 42"/>
                <a:gd name="T7" fmla="*/ 23 h 23"/>
                <a:gd name="T8" fmla="*/ 42 w 42"/>
                <a:gd name="T9" fmla="*/ 18 h 23"/>
                <a:gd name="T10" fmla="*/ 6 w 42"/>
                <a:gd name="T11" fmla="*/ 18 h 23"/>
                <a:gd name="T12" fmla="*/ 5 w 42"/>
                <a:gd name="T13" fmla="*/ 17 h 23"/>
                <a:gd name="T14" fmla="*/ 5 w 42"/>
                <a:gd name="T15" fmla="*/ 5 h 23"/>
                <a:gd name="T16" fmla="*/ 6 w 42"/>
                <a:gd name="T17" fmla="*/ 5 h 23"/>
                <a:gd name="T18" fmla="*/ 42 w 42"/>
                <a:gd name="T19" fmla="*/ 5 h 23"/>
                <a:gd name="T20" fmla="*/ 42 w 42"/>
                <a:gd name="T21" fmla="*/ 0 h 23"/>
                <a:gd name="T22" fmla="*/ 5 w 42"/>
                <a:gd name="T23" fmla="*/ 0 h 23"/>
                <a:gd name="T24" fmla="*/ 0 w 42"/>
                <a:gd name="T25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3">
                  <a:moveTo>
                    <a:pt x="0" y="5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1"/>
                    <a:pt x="2" y="23"/>
                    <a:pt x="5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7"/>
                    <a:pt x="5" y="17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670" dirty="0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13884BBF-B739-40F4-A9E7-B8ED67A89C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4688" y="2519363"/>
              <a:ext cx="187325" cy="109538"/>
            </a:xfrm>
            <a:custGeom>
              <a:avLst/>
              <a:gdLst>
                <a:gd name="T0" fmla="*/ 38 w 44"/>
                <a:gd name="T1" fmla="*/ 9 h 23"/>
                <a:gd name="T2" fmla="*/ 6 w 44"/>
                <a:gd name="T3" fmla="*/ 9 h 23"/>
                <a:gd name="T4" fmla="*/ 6 w 44"/>
                <a:gd name="T5" fmla="*/ 9 h 23"/>
                <a:gd name="T6" fmla="*/ 5 w 44"/>
                <a:gd name="T7" fmla="*/ 8 h 23"/>
                <a:gd name="T8" fmla="*/ 5 w 44"/>
                <a:gd name="T9" fmla="*/ 5 h 23"/>
                <a:gd name="T10" fmla="*/ 6 w 44"/>
                <a:gd name="T11" fmla="*/ 4 h 23"/>
                <a:gd name="T12" fmla="*/ 43 w 44"/>
                <a:gd name="T13" fmla="*/ 4 h 23"/>
                <a:gd name="T14" fmla="*/ 43 w 44"/>
                <a:gd name="T15" fmla="*/ 0 h 23"/>
                <a:gd name="T16" fmla="*/ 5 w 44"/>
                <a:gd name="T17" fmla="*/ 0 h 23"/>
                <a:gd name="T18" fmla="*/ 0 w 44"/>
                <a:gd name="T19" fmla="*/ 5 h 23"/>
                <a:gd name="T20" fmla="*/ 0 w 44"/>
                <a:gd name="T21" fmla="*/ 8 h 23"/>
                <a:gd name="T22" fmla="*/ 5 w 44"/>
                <a:gd name="T23" fmla="*/ 13 h 23"/>
                <a:gd name="T24" fmla="*/ 38 w 44"/>
                <a:gd name="T25" fmla="*/ 13 h 23"/>
                <a:gd name="T26" fmla="*/ 38 w 44"/>
                <a:gd name="T27" fmla="*/ 14 h 23"/>
                <a:gd name="T28" fmla="*/ 38 w 44"/>
                <a:gd name="T29" fmla="*/ 14 h 23"/>
                <a:gd name="T30" fmla="*/ 38 w 44"/>
                <a:gd name="T31" fmla="*/ 18 h 23"/>
                <a:gd name="T32" fmla="*/ 38 w 44"/>
                <a:gd name="T33" fmla="*/ 19 h 23"/>
                <a:gd name="T34" fmla="*/ 0 w 44"/>
                <a:gd name="T35" fmla="*/ 19 h 23"/>
                <a:gd name="T36" fmla="*/ 0 w 44"/>
                <a:gd name="T37" fmla="*/ 23 h 23"/>
                <a:gd name="T38" fmla="*/ 38 w 44"/>
                <a:gd name="T39" fmla="*/ 23 h 23"/>
                <a:gd name="T40" fmla="*/ 44 w 44"/>
                <a:gd name="T41" fmla="*/ 18 h 23"/>
                <a:gd name="T42" fmla="*/ 44 w 44"/>
                <a:gd name="T43" fmla="*/ 18 h 23"/>
                <a:gd name="T44" fmla="*/ 44 w 44"/>
                <a:gd name="T45" fmla="*/ 14 h 23"/>
                <a:gd name="T46" fmla="*/ 44 w 44"/>
                <a:gd name="T47" fmla="*/ 14 h 23"/>
                <a:gd name="T48" fmla="*/ 38 w 44"/>
                <a:gd name="T4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" h="23">
                  <a:moveTo>
                    <a:pt x="38" y="9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5" y="8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2" y="13"/>
                    <a:pt x="5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9"/>
                    <a:pt x="38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1" y="23"/>
                    <a:pt x="44" y="21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1"/>
                    <a:pt x="41" y="9"/>
                    <a:pt x="38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670" dirty="0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0B0E8C53-029A-4577-8FF1-00B7A21165F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70375" y="2519363"/>
              <a:ext cx="188913" cy="109538"/>
            </a:xfrm>
            <a:custGeom>
              <a:avLst/>
              <a:gdLst>
                <a:gd name="T0" fmla="*/ 39 w 44"/>
                <a:gd name="T1" fmla="*/ 15 h 23"/>
                <a:gd name="T2" fmla="*/ 44 w 44"/>
                <a:gd name="T3" fmla="*/ 10 h 23"/>
                <a:gd name="T4" fmla="*/ 44 w 44"/>
                <a:gd name="T5" fmla="*/ 5 h 23"/>
                <a:gd name="T6" fmla="*/ 39 w 44"/>
                <a:gd name="T7" fmla="*/ 0 h 23"/>
                <a:gd name="T8" fmla="*/ 39 w 44"/>
                <a:gd name="T9" fmla="*/ 0 h 23"/>
                <a:gd name="T10" fmla="*/ 0 w 44"/>
                <a:gd name="T11" fmla="*/ 0 h 23"/>
                <a:gd name="T12" fmla="*/ 0 w 44"/>
                <a:gd name="T13" fmla="*/ 23 h 23"/>
                <a:gd name="T14" fmla="*/ 5 w 44"/>
                <a:gd name="T15" fmla="*/ 23 h 23"/>
                <a:gd name="T16" fmla="*/ 5 w 44"/>
                <a:gd name="T17" fmla="*/ 17 h 23"/>
                <a:gd name="T18" fmla="*/ 33 w 44"/>
                <a:gd name="T19" fmla="*/ 17 h 23"/>
                <a:gd name="T20" fmla="*/ 33 w 44"/>
                <a:gd name="T21" fmla="*/ 17 h 23"/>
                <a:gd name="T22" fmla="*/ 39 w 44"/>
                <a:gd name="T23" fmla="*/ 22 h 23"/>
                <a:gd name="T24" fmla="*/ 39 w 44"/>
                <a:gd name="T25" fmla="*/ 23 h 23"/>
                <a:gd name="T26" fmla="*/ 44 w 44"/>
                <a:gd name="T27" fmla="*/ 23 h 23"/>
                <a:gd name="T28" fmla="*/ 44 w 44"/>
                <a:gd name="T29" fmla="*/ 23 h 23"/>
                <a:gd name="T30" fmla="*/ 39 w 44"/>
                <a:gd name="T31" fmla="*/ 15 h 23"/>
                <a:gd name="T32" fmla="*/ 39 w 44"/>
                <a:gd name="T33" fmla="*/ 11 h 23"/>
                <a:gd name="T34" fmla="*/ 39 w 44"/>
                <a:gd name="T35" fmla="*/ 11 h 23"/>
                <a:gd name="T36" fmla="*/ 38 w 44"/>
                <a:gd name="T37" fmla="*/ 12 h 23"/>
                <a:gd name="T38" fmla="*/ 5 w 44"/>
                <a:gd name="T39" fmla="*/ 12 h 23"/>
                <a:gd name="T40" fmla="*/ 5 w 44"/>
                <a:gd name="T41" fmla="*/ 5 h 23"/>
                <a:gd name="T42" fmla="*/ 38 w 44"/>
                <a:gd name="T43" fmla="*/ 5 h 23"/>
                <a:gd name="T44" fmla="*/ 39 w 44"/>
                <a:gd name="T45" fmla="*/ 6 h 23"/>
                <a:gd name="T46" fmla="*/ 39 w 44"/>
                <a:gd name="T4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23">
                  <a:moveTo>
                    <a:pt x="39" y="15"/>
                  </a:moveTo>
                  <a:cubicBezTo>
                    <a:pt x="42" y="15"/>
                    <a:pt x="44" y="13"/>
                    <a:pt x="44" y="10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2"/>
                    <a:pt x="41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6" y="17"/>
                    <a:pt x="39" y="19"/>
                    <a:pt x="39" y="22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9"/>
                    <a:pt x="42" y="16"/>
                    <a:pt x="39" y="15"/>
                  </a:cubicBezTo>
                  <a:close/>
                  <a:moveTo>
                    <a:pt x="39" y="11"/>
                  </a:move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8" y="12"/>
                    <a:pt x="38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9" y="5"/>
                    <a:pt x="39" y="6"/>
                  </a:cubicBezTo>
                  <a:lnTo>
                    <a:pt x="39" y="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670" dirty="0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749339E0-4183-4B34-AACB-45B199E251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57650" y="2519363"/>
              <a:ext cx="187325" cy="109538"/>
            </a:xfrm>
            <a:custGeom>
              <a:avLst/>
              <a:gdLst>
                <a:gd name="T0" fmla="*/ 39 w 44"/>
                <a:gd name="T1" fmla="*/ 0 h 23"/>
                <a:gd name="T2" fmla="*/ 39 w 44"/>
                <a:gd name="T3" fmla="*/ 0 h 23"/>
                <a:gd name="T4" fmla="*/ 6 w 44"/>
                <a:gd name="T5" fmla="*/ 0 h 23"/>
                <a:gd name="T6" fmla="*/ 0 w 44"/>
                <a:gd name="T7" fmla="*/ 5 h 23"/>
                <a:gd name="T8" fmla="*/ 0 w 44"/>
                <a:gd name="T9" fmla="*/ 18 h 23"/>
                <a:gd name="T10" fmla="*/ 6 w 44"/>
                <a:gd name="T11" fmla="*/ 23 h 23"/>
                <a:gd name="T12" fmla="*/ 38 w 44"/>
                <a:gd name="T13" fmla="*/ 23 h 23"/>
                <a:gd name="T14" fmla="*/ 44 w 44"/>
                <a:gd name="T15" fmla="*/ 18 h 23"/>
                <a:gd name="T16" fmla="*/ 44 w 44"/>
                <a:gd name="T17" fmla="*/ 18 h 23"/>
                <a:gd name="T18" fmla="*/ 44 w 44"/>
                <a:gd name="T19" fmla="*/ 18 h 23"/>
                <a:gd name="T20" fmla="*/ 44 w 44"/>
                <a:gd name="T21" fmla="*/ 5 h 23"/>
                <a:gd name="T22" fmla="*/ 39 w 44"/>
                <a:gd name="T23" fmla="*/ 0 h 23"/>
                <a:gd name="T24" fmla="*/ 38 w 44"/>
                <a:gd name="T25" fmla="*/ 17 h 23"/>
                <a:gd name="T26" fmla="*/ 38 w 44"/>
                <a:gd name="T27" fmla="*/ 18 h 23"/>
                <a:gd name="T28" fmla="*/ 6 w 44"/>
                <a:gd name="T29" fmla="*/ 18 h 23"/>
                <a:gd name="T30" fmla="*/ 6 w 44"/>
                <a:gd name="T31" fmla="*/ 17 h 23"/>
                <a:gd name="T32" fmla="*/ 6 w 44"/>
                <a:gd name="T33" fmla="*/ 5 h 23"/>
                <a:gd name="T34" fmla="*/ 6 w 44"/>
                <a:gd name="T35" fmla="*/ 5 h 23"/>
                <a:gd name="T36" fmla="*/ 38 w 44"/>
                <a:gd name="T37" fmla="*/ 5 h 23"/>
                <a:gd name="T38" fmla="*/ 38 w 44"/>
                <a:gd name="T39" fmla="*/ 6 h 23"/>
                <a:gd name="T40" fmla="*/ 38 w 44"/>
                <a:gd name="T41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" h="23">
                  <a:moveTo>
                    <a:pt x="39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1"/>
                    <a:pt x="3" y="23"/>
                    <a:pt x="6" y="2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1" y="23"/>
                    <a:pt x="44" y="21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2"/>
                    <a:pt x="41" y="0"/>
                    <a:pt x="39" y="0"/>
                  </a:cubicBezTo>
                  <a:close/>
                  <a:moveTo>
                    <a:pt x="38" y="17"/>
                  </a:moveTo>
                  <a:cubicBezTo>
                    <a:pt x="38" y="17"/>
                    <a:pt x="38" y="18"/>
                    <a:pt x="3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7"/>
                    <a:pt x="6" y="17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6"/>
                  </a:cubicBezTo>
                  <a:lnTo>
                    <a:pt x="38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670" dirty="0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7468867D-228E-4BD7-8C59-E9018326112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48100" y="2519363"/>
              <a:ext cx="184150" cy="109538"/>
            </a:xfrm>
            <a:custGeom>
              <a:avLst/>
              <a:gdLst>
                <a:gd name="T0" fmla="*/ 38 w 43"/>
                <a:gd name="T1" fmla="*/ 0 h 23"/>
                <a:gd name="T2" fmla="*/ 38 w 43"/>
                <a:gd name="T3" fmla="*/ 0 h 23"/>
                <a:gd name="T4" fmla="*/ 0 w 43"/>
                <a:gd name="T5" fmla="*/ 0 h 23"/>
                <a:gd name="T6" fmla="*/ 0 w 43"/>
                <a:gd name="T7" fmla="*/ 23 h 23"/>
                <a:gd name="T8" fmla="*/ 5 w 43"/>
                <a:gd name="T9" fmla="*/ 23 h 23"/>
                <a:gd name="T10" fmla="*/ 5 w 43"/>
                <a:gd name="T11" fmla="*/ 17 h 23"/>
                <a:gd name="T12" fmla="*/ 38 w 43"/>
                <a:gd name="T13" fmla="*/ 17 h 23"/>
                <a:gd name="T14" fmla="*/ 43 w 43"/>
                <a:gd name="T15" fmla="*/ 12 h 23"/>
                <a:gd name="T16" fmla="*/ 43 w 43"/>
                <a:gd name="T17" fmla="*/ 5 h 23"/>
                <a:gd name="T18" fmla="*/ 38 w 43"/>
                <a:gd name="T19" fmla="*/ 0 h 23"/>
                <a:gd name="T20" fmla="*/ 38 w 43"/>
                <a:gd name="T21" fmla="*/ 11 h 23"/>
                <a:gd name="T22" fmla="*/ 38 w 43"/>
                <a:gd name="T23" fmla="*/ 12 h 23"/>
                <a:gd name="T24" fmla="*/ 5 w 43"/>
                <a:gd name="T25" fmla="*/ 12 h 23"/>
                <a:gd name="T26" fmla="*/ 5 w 43"/>
                <a:gd name="T27" fmla="*/ 5 h 23"/>
                <a:gd name="T28" fmla="*/ 37 w 43"/>
                <a:gd name="T29" fmla="*/ 5 h 23"/>
                <a:gd name="T30" fmla="*/ 38 w 43"/>
                <a:gd name="T31" fmla="*/ 6 h 23"/>
                <a:gd name="T32" fmla="*/ 38 w 43"/>
                <a:gd name="T3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" h="23">
                  <a:moveTo>
                    <a:pt x="38" y="0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41" y="17"/>
                    <a:pt x="43" y="14"/>
                    <a:pt x="43" y="12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2"/>
                    <a:pt x="41" y="0"/>
                    <a:pt x="38" y="0"/>
                  </a:cubicBezTo>
                  <a:close/>
                  <a:moveTo>
                    <a:pt x="38" y="11"/>
                  </a:moveTo>
                  <a:cubicBezTo>
                    <a:pt x="38" y="11"/>
                    <a:pt x="38" y="12"/>
                    <a:pt x="38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5"/>
                    <a:pt x="38" y="5"/>
                    <a:pt x="38" y="6"/>
                  </a:cubicBezTo>
                  <a:lnTo>
                    <a:pt x="38" y="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670" dirty="0"/>
            </a:p>
          </p:txBody>
        </p:sp>
      </p:grpSp>
      <p:sp>
        <p:nvSpPr>
          <p:cNvPr id="16" name="textBoxChangeDate">
            <a:extLst>
              <a:ext uri="{FF2B5EF4-FFF2-40B4-BE49-F238E27FC236}">
                <a16:creationId xmlns:a16="http://schemas.microsoft.com/office/drawing/2014/main" id="{7AA358CF-47E2-4350-8A87-10C0F90A3942}"/>
              </a:ext>
            </a:extLst>
          </p:cNvPr>
          <p:cNvSpPr txBox="1">
            <a:spLocks/>
          </p:cNvSpPr>
          <p:nvPr userDrawn="1"/>
        </p:nvSpPr>
        <p:spPr>
          <a:xfrm>
            <a:off x="929103" y="2142357"/>
            <a:ext cx="1878656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200" b="0" dirty="0"/>
              <a:t>Änderungsdatum: 18.07.2018</a:t>
            </a:r>
          </a:p>
        </p:txBody>
      </p:sp>
      <p:sp>
        <p:nvSpPr>
          <p:cNvPr id="17" name="textBoxCreationDate">
            <a:extLst>
              <a:ext uri="{FF2B5EF4-FFF2-40B4-BE49-F238E27FC236}">
                <a16:creationId xmlns:a16="http://schemas.microsoft.com/office/drawing/2014/main" id="{61A5BF2B-5F4A-4028-B56C-44054A65547F}"/>
              </a:ext>
            </a:extLst>
          </p:cNvPr>
          <p:cNvSpPr txBox="1">
            <a:spLocks/>
          </p:cNvSpPr>
          <p:nvPr userDrawn="1"/>
        </p:nvSpPr>
        <p:spPr>
          <a:xfrm>
            <a:off x="929107" y="2207465"/>
            <a:ext cx="1900777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200" b="0" dirty="0"/>
              <a:t>Erstellungsdatum: 14.08.2018</a:t>
            </a:r>
          </a:p>
        </p:txBody>
      </p:sp>
      <p:sp>
        <p:nvSpPr>
          <p:cNvPr id="18" name="textBoxUserName">
            <a:extLst>
              <a:ext uri="{FF2B5EF4-FFF2-40B4-BE49-F238E27FC236}">
                <a16:creationId xmlns:a16="http://schemas.microsoft.com/office/drawing/2014/main" id="{3F063445-F6C1-42E3-A8F8-50AC90D511B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59851" y="2387904"/>
            <a:ext cx="65" cy="143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934" dirty="0"/>
          </a:p>
        </p:txBody>
      </p:sp>
      <p:sp>
        <p:nvSpPr>
          <p:cNvPr id="19" name="textBoxDepartment">
            <a:extLst>
              <a:ext uri="{FF2B5EF4-FFF2-40B4-BE49-F238E27FC236}">
                <a16:creationId xmlns:a16="http://schemas.microsoft.com/office/drawing/2014/main" id="{2214E889-2DC2-4239-9C1F-EB7352E83669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28417" y="2387904"/>
            <a:ext cx="65" cy="143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934" dirty="0"/>
          </a:p>
        </p:txBody>
      </p:sp>
    </p:spTree>
    <p:extLst>
      <p:ext uri="{BB962C8B-B14F-4D97-AF65-F5344CB8AC3E}">
        <p14:creationId xmlns:p14="http://schemas.microsoft.com/office/powerpoint/2010/main" val="34533542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 (HL 1-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9210DFC-0BD9-4A14-BA0A-2FF7D6A1E1D3}"/>
              </a:ext>
            </a:extLst>
          </p:cNvPr>
          <p:cNvSpPr/>
          <p:nvPr userDrawn="1"/>
        </p:nvSpPr>
        <p:spPr>
          <a:xfrm>
            <a:off x="0" y="2104859"/>
            <a:ext cx="852062" cy="36370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245" dirty="0" err="1">
              <a:solidFill>
                <a:schemeClr val="tx1"/>
              </a:solidFill>
            </a:endParaRPr>
          </a:p>
        </p:txBody>
      </p:sp>
      <p:sp>
        <p:nvSpPr>
          <p:cNvPr id="11" name="Bildplatzhalter 12">
            <a:extLst>
              <a:ext uri="{FF2B5EF4-FFF2-40B4-BE49-F238E27FC236}">
                <a16:creationId xmlns:a16="http://schemas.microsoft.com/office/drawing/2014/main" id="{12460F4B-E8C5-4630-A020-1AA387B00D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144000" cy="2105136"/>
          </a:xfrm>
          <a:prstGeom prst="rect">
            <a:avLst/>
          </a:prstGeom>
          <a:solidFill>
            <a:schemeClr val="tx1"/>
          </a:solidFill>
        </p:spPr>
        <p:txBody>
          <a:bodyPr anchor="ctr" anchorCtr="0"/>
          <a:lstStyle>
            <a:lvl1pPr marL="0" indent="0" algn="ctr">
              <a:buNone/>
              <a:defRPr sz="1781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917F288-BD42-4F9B-954C-BBC375689F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8244" y="745876"/>
            <a:ext cx="2262927" cy="43550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670">
                <a:solidFill>
                  <a:schemeClr val="bg1"/>
                </a:solidFill>
              </a:defRPr>
            </a:lvl1pPr>
            <a:lvl2pPr>
              <a:defRPr sz="2670">
                <a:solidFill>
                  <a:schemeClr val="bg1"/>
                </a:solidFill>
              </a:defRPr>
            </a:lvl2pPr>
            <a:lvl3pPr>
              <a:defRPr sz="2670">
                <a:solidFill>
                  <a:schemeClr val="bg1"/>
                </a:solidFill>
              </a:defRPr>
            </a:lvl3pPr>
            <a:lvl4pPr>
              <a:defRPr sz="2670">
                <a:solidFill>
                  <a:schemeClr val="bg1"/>
                </a:solidFill>
              </a:defRPr>
            </a:lvl4pPr>
            <a:lvl5pPr>
              <a:defRPr sz="267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Unterüberschrif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CAE81D3-3AB6-4684-B63D-CCAEFCCBCD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240" y="334142"/>
            <a:ext cx="8869864" cy="1231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inzeilige Überschrift</a:t>
            </a:r>
          </a:p>
        </p:txBody>
      </p:sp>
    </p:spTree>
    <p:extLst>
      <p:ext uri="{BB962C8B-B14F-4D97-AF65-F5344CB8AC3E}">
        <p14:creationId xmlns:p14="http://schemas.microsoft.com/office/powerpoint/2010/main" val="36076172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 (HL 1-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917F288-BD42-4F9B-954C-BBC375689F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32746" y="745876"/>
            <a:ext cx="2262927" cy="43550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r">
              <a:buNone/>
              <a:defRPr sz="2670">
                <a:solidFill>
                  <a:schemeClr val="tx1"/>
                </a:solidFill>
              </a:defRPr>
            </a:lvl1pPr>
            <a:lvl2pPr>
              <a:defRPr sz="2670">
                <a:solidFill>
                  <a:schemeClr val="bg1"/>
                </a:solidFill>
              </a:defRPr>
            </a:lvl2pPr>
            <a:lvl3pPr>
              <a:defRPr sz="2670">
                <a:solidFill>
                  <a:schemeClr val="bg1"/>
                </a:solidFill>
              </a:defRPr>
            </a:lvl3pPr>
            <a:lvl4pPr>
              <a:defRPr sz="2670">
                <a:solidFill>
                  <a:schemeClr val="bg1"/>
                </a:solidFill>
              </a:defRPr>
            </a:lvl4pPr>
            <a:lvl5pPr>
              <a:defRPr sz="267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Unterüberschrif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CAE81D3-3AB6-4684-B63D-CCAEFCCBCD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06" y="334142"/>
            <a:ext cx="8869864" cy="1231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80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Einzeilige Überschrift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9D9D174-3F23-4CB1-A939-0A39EEBF6BF0}"/>
              </a:ext>
            </a:extLst>
          </p:cNvPr>
          <p:cNvSpPr/>
          <p:nvPr userDrawn="1"/>
        </p:nvSpPr>
        <p:spPr>
          <a:xfrm>
            <a:off x="0" y="2104859"/>
            <a:ext cx="852062" cy="36370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245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3860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4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3FA93BF2-B11D-4FC5-9B10-8E083CAFCA12}"/>
              </a:ext>
            </a:extLst>
          </p:cNvPr>
          <p:cNvSpPr/>
          <p:nvPr userDrawn="1"/>
        </p:nvSpPr>
        <p:spPr>
          <a:xfrm>
            <a:off x="684216" y="363428"/>
            <a:ext cx="8459788" cy="174170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/>
            <a:endParaRPr lang="de-DE" sz="2670" dirty="0" err="1">
              <a:latin typeface="+mj-lt"/>
            </a:endParaRPr>
          </a:p>
        </p:txBody>
      </p:sp>
      <p:sp>
        <p:nvSpPr>
          <p:cNvPr id="62" name="Textplatzhalter 4">
            <a:extLst>
              <a:ext uri="{FF2B5EF4-FFF2-40B4-BE49-F238E27FC236}">
                <a16:creationId xmlns:a16="http://schemas.microsoft.com/office/drawing/2014/main" id="{04C55368-C9FF-4E80-A821-ECF4B91A34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1261" y="697263"/>
            <a:ext cx="2600700" cy="2871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6" b="1" i="0" baseline="0"/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3" name="Textplatzhalter 4">
            <a:extLst>
              <a:ext uri="{FF2B5EF4-FFF2-40B4-BE49-F238E27FC236}">
                <a16:creationId xmlns:a16="http://schemas.microsoft.com/office/drawing/2014/main" id="{DCA1C46C-FE53-4CB5-983F-95043DD5C2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91261" y="780226"/>
            <a:ext cx="2600700" cy="2871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6" b="0" i="0" baseline="0"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genda</a:t>
            </a:r>
          </a:p>
        </p:txBody>
      </p:sp>
      <p:sp>
        <p:nvSpPr>
          <p:cNvPr id="69" name="Textplatzhalter 4">
            <a:extLst>
              <a:ext uri="{FF2B5EF4-FFF2-40B4-BE49-F238E27FC236}">
                <a16:creationId xmlns:a16="http://schemas.microsoft.com/office/drawing/2014/main" id="{4C56456F-A842-4673-B9B4-A420E7B2FD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91261" y="1013288"/>
            <a:ext cx="2600700" cy="2871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6" b="1" i="0" baseline="0"/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70" name="Textplatzhalter 4">
            <a:extLst>
              <a:ext uri="{FF2B5EF4-FFF2-40B4-BE49-F238E27FC236}">
                <a16:creationId xmlns:a16="http://schemas.microsoft.com/office/drawing/2014/main" id="{F1B2E5D1-D0D9-4ECD-99C5-A6F97DD19A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91261" y="1096250"/>
            <a:ext cx="2600700" cy="2871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6" b="0" i="0" baseline="0"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genda</a:t>
            </a:r>
          </a:p>
        </p:txBody>
      </p:sp>
      <p:sp>
        <p:nvSpPr>
          <p:cNvPr id="71" name="Textplatzhalter 4">
            <a:extLst>
              <a:ext uri="{FF2B5EF4-FFF2-40B4-BE49-F238E27FC236}">
                <a16:creationId xmlns:a16="http://schemas.microsoft.com/office/drawing/2014/main" id="{1108200B-3F4B-4770-9A39-BF274C511B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91261" y="1335340"/>
            <a:ext cx="2600700" cy="2871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6" b="1" i="0" baseline="0"/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72" name="Textplatzhalter 4">
            <a:extLst>
              <a:ext uri="{FF2B5EF4-FFF2-40B4-BE49-F238E27FC236}">
                <a16:creationId xmlns:a16="http://schemas.microsoft.com/office/drawing/2014/main" id="{CFEC609D-F72F-4C73-9E59-1A7B68E841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91261" y="1418302"/>
            <a:ext cx="2600700" cy="2871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6" b="0" i="0" baseline="0"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genda</a:t>
            </a:r>
          </a:p>
        </p:txBody>
      </p: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8EE6C1EE-F60F-40FA-B72A-6452AA8D4D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91261" y="1647199"/>
            <a:ext cx="2600700" cy="2871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6" b="1" i="0" baseline="0"/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F573C38E-34E1-4D8A-9905-A27FACF947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91261" y="1730159"/>
            <a:ext cx="2600700" cy="2871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6" b="0" i="0" baseline="0"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Agenda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CCD3883-268D-404C-86CD-292C9ED11E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6570" y="670341"/>
            <a:ext cx="435178" cy="2087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ABB0FBF2-FB7B-CC4E-9868-95DCE0EE1D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570" y="988761"/>
            <a:ext cx="435178" cy="2087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886CE867-369D-594A-99DA-520254F255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6570" y="1307063"/>
            <a:ext cx="435178" cy="2087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B0319E20-2D18-3C4F-B52B-64CF2E678EB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6570" y="1621536"/>
            <a:ext cx="435178" cy="2087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CA541BC4-1640-48BE-BCDB-2C9179F6A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3" y="114148"/>
            <a:ext cx="8619650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Agenda (4 Angaben)</a:t>
            </a:r>
          </a:p>
        </p:txBody>
      </p:sp>
      <p:sp>
        <p:nvSpPr>
          <p:cNvPr id="23" name="Bildplatzhalter 21">
            <a:extLst>
              <a:ext uri="{FF2B5EF4-FFF2-40B4-BE49-F238E27FC236}">
                <a16:creationId xmlns:a16="http://schemas.microsoft.com/office/drawing/2014/main" id="{09492F50-300F-4A13-80F4-927498968A2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073053" y="365718"/>
            <a:ext cx="5070950" cy="1739422"/>
          </a:xfrm>
          <a:custGeom>
            <a:avLst/>
            <a:gdLst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0 w 5070950"/>
              <a:gd name="connsiteY3" fmla="*/ 3624262 h 3624262"/>
              <a:gd name="connsiteX4" fmla="*/ 0 w 5070950"/>
              <a:gd name="connsiteY4" fmla="*/ 0 h 3624262"/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1733550 w 5070950"/>
              <a:gd name="connsiteY3" fmla="*/ 3624262 h 3624262"/>
              <a:gd name="connsiteX4" fmla="*/ 0 w 5070950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3624262">
                <a:moveTo>
                  <a:pt x="0" y="0"/>
                </a:moveTo>
                <a:lnTo>
                  <a:pt x="5070950" y="0"/>
                </a:lnTo>
                <a:lnTo>
                  <a:pt x="5070950" y="3624262"/>
                </a:lnTo>
                <a:lnTo>
                  <a:pt x="1733550" y="3624262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 sz="1781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97313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(3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platzhalter 12">
            <a:extLst>
              <a:ext uri="{FF2B5EF4-FFF2-40B4-BE49-F238E27FC236}">
                <a16:creationId xmlns:a16="http://schemas.microsoft.com/office/drawing/2014/main" id="{E3643EA2-8E02-45CA-A39F-DAB17BFEAC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3"/>
            <a:ext cx="9144000" cy="2110889"/>
          </a:xfrm>
          <a:prstGeom prst="rect">
            <a:avLst/>
          </a:prstGeom>
        </p:spPr>
      </p:pic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1E149EB0-6633-EC48-8ACA-3E18C574108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12119" y="827224"/>
            <a:ext cx="3335211" cy="567458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6401 h 1182357"/>
              <a:gd name="connsiteX1" fmla="*/ 3335212 w 3916237"/>
              <a:gd name="connsiteY1" fmla="*/ 0 h 1182357"/>
              <a:gd name="connsiteX2" fmla="*/ 3916237 w 3916237"/>
              <a:gd name="connsiteY2" fmla="*/ 1182357 h 1182357"/>
              <a:gd name="connsiteX3" fmla="*/ 569704 w 3916237"/>
              <a:gd name="connsiteY3" fmla="*/ 1182357 h 1182357"/>
              <a:gd name="connsiteX4" fmla="*/ 0 w 3916237"/>
              <a:gd name="connsiteY4" fmla="*/ 6401 h 1182357"/>
              <a:gd name="connsiteX0" fmla="*/ 0 w 3335212"/>
              <a:gd name="connsiteY0" fmla="*/ 6401 h 1182357"/>
              <a:gd name="connsiteX1" fmla="*/ 3335212 w 3335212"/>
              <a:gd name="connsiteY1" fmla="*/ 0 h 1182357"/>
              <a:gd name="connsiteX2" fmla="*/ 3328862 w 3335212"/>
              <a:gd name="connsiteY2" fmla="*/ 1182357 h 1182357"/>
              <a:gd name="connsiteX3" fmla="*/ 569704 w 3335212"/>
              <a:gd name="connsiteY3" fmla="*/ 1182357 h 1182357"/>
              <a:gd name="connsiteX4" fmla="*/ 0 w 3335212"/>
              <a:gd name="connsiteY4" fmla="*/ 6401 h 1182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35212" h="1182357">
                <a:moveTo>
                  <a:pt x="0" y="6401"/>
                </a:moveTo>
                <a:lnTo>
                  <a:pt x="3335212" y="0"/>
                </a:lnTo>
                <a:cubicBezTo>
                  <a:pt x="3333095" y="394119"/>
                  <a:pt x="3330979" y="788238"/>
                  <a:pt x="3328862" y="1182357"/>
                </a:cubicBezTo>
                <a:lnTo>
                  <a:pt x="569704" y="1182357"/>
                </a:lnTo>
                <a:lnTo>
                  <a:pt x="0" y="640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720000" tIns="360000" rIns="0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8E38B91A-AA43-3648-99A7-462F230820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0550" y="1418476"/>
            <a:ext cx="2741488" cy="564410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51 h 1176007"/>
              <a:gd name="connsiteX1" fmla="*/ 2741487 w 3916237"/>
              <a:gd name="connsiteY1" fmla="*/ 0 h 1176007"/>
              <a:gd name="connsiteX2" fmla="*/ 3916237 w 3916237"/>
              <a:gd name="connsiteY2" fmla="*/ 1176007 h 1176007"/>
              <a:gd name="connsiteX3" fmla="*/ 569704 w 3916237"/>
              <a:gd name="connsiteY3" fmla="*/ 1176007 h 1176007"/>
              <a:gd name="connsiteX4" fmla="*/ 0 w 3916237"/>
              <a:gd name="connsiteY4" fmla="*/ 51 h 1176007"/>
              <a:gd name="connsiteX0" fmla="*/ 0 w 2741487"/>
              <a:gd name="connsiteY0" fmla="*/ 51 h 1176007"/>
              <a:gd name="connsiteX1" fmla="*/ 2741487 w 2741487"/>
              <a:gd name="connsiteY1" fmla="*/ 0 h 1176007"/>
              <a:gd name="connsiteX2" fmla="*/ 2738312 w 2741487"/>
              <a:gd name="connsiteY2" fmla="*/ 1176007 h 1176007"/>
              <a:gd name="connsiteX3" fmla="*/ 569704 w 2741487"/>
              <a:gd name="connsiteY3" fmla="*/ 1176007 h 1176007"/>
              <a:gd name="connsiteX4" fmla="*/ 0 w 2741487"/>
              <a:gd name="connsiteY4" fmla="*/ 51 h 1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41487" h="1176007">
                <a:moveTo>
                  <a:pt x="0" y="51"/>
                </a:moveTo>
                <a:lnTo>
                  <a:pt x="2741487" y="0"/>
                </a:lnTo>
                <a:cubicBezTo>
                  <a:pt x="2740429" y="392002"/>
                  <a:pt x="2739370" y="784005"/>
                  <a:pt x="2738312" y="1176007"/>
                </a:cubicBezTo>
                <a:lnTo>
                  <a:pt x="569704" y="1176007"/>
                </a:lnTo>
                <a:lnTo>
                  <a:pt x="0" y="5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720000" tIns="360000" rIns="0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D3E47CD0-14B1-6B48-BD37-D5E31D1E7C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flipH="1">
            <a:off x="5620860" y="999496"/>
            <a:ext cx="776578" cy="221539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734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4E7FAE09-2E51-9540-9D0C-651412FE99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flipH="1">
            <a:off x="6220129" y="1594554"/>
            <a:ext cx="776578" cy="221539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734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9918EBE0-C521-FC4F-9CC7-C3BC26377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18473" y="237500"/>
            <a:ext cx="3916238" cy="568983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6237" h="1185532">
                <a:moveTo>
                  <a:pt x="0" y="9576"/>
                </a:moveTo>
                <a:lnTo>
                  <a:pt x="3916237" y="0"/>
                </a:lnTo>
                <a:lnTo>
                  <a:pt x="3916237" y="1185532"/>
                </a:lnTo>
                <a:lnTo>
                  <a:pt x="569704" y="1185532"/>
                </a:lnTo>
                <a:lnTo>
                  <a:pt x="0" y="9576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720000" tIns="360000" rIns="0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0A5938DA-AB2D-B641-9609-172C5D5F7A7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flipH="1">
            <a:off x="5037091" y="406917"/>
            <a:ext cx="776578" cy="221539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734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F5929F82-2F3E-45AC-87CB-3DFE73C8D8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42231" y="523545"/>
            <a:ext cx="2822718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CEB501B8-615F-F843-B54D-9920EC14A2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35873" y="1111750"/>
            <a:ext cx="2822718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C3E9233D-477A-FF44-B2A2-A256EB6A6F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234302" y="1699953"/>
            <a:ext cx="2822718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63344693-5232-46BB-A228-6965BF2E8F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4" y="114148"/>
            <a:ext cx="8588929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Agenda (3 Angaben)</a:t>
            </a:r>
          </a:p>
        </p:txBody>
      </p:sp>
    </p:spTree>
    <p:extLst>
      <p:ext uri="{BB962C8B-B14F-4D97-AF65-F5344CB8AC3E}">
        <p14:creationId xmlns:p14="http://schemas.microsoft.com/office/powerpoint/2010/main" val="18288606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(4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dplatzhalter 12">
            <a:extLst>
              <a:ext uri="{FF2B5EF4-FFF2-40B4-BE49-F238E27FC236}">
                <a16:creationId xmlns:a16="http://schemas.microsoft.com/office/drawing/2014/main" id="{3DD847EC-9243-47AA-8A79-68BACF9427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3"/>
            <a:ext cx="9144000" cy="2110889"/>
          </a:xfrm>
          <a:prstGeom prst="rect">
            <a:avLst/>
          </a:prstGeom>
        </p:spPr>
      </p:pic>
      <p:sp>
        <p:nvSpPr>
          <p:cNvPr id="30" name="Textplatzhalter 4">
            <a:extLst>
              <a:ext uri="{FF2B5EF4-FFF2-40B4-BE49-F238E27FC236}">
                <a16:creationId xmlns:a16="http://schemas.microsoft.com/office/drawing/2014/main" id="{257BECE9-2212-AD4C-9DDC-270418BA64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81979" y="673149"/>
            <a:ext cx="3465691" cy="421198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5271 h 1185835"/>
              <a:gd name="connsiteX1" fmla="*/ 3465387 w 3916237"/>
              <a:gd name="connsiteY1" fmla="*/ 0 h 1185835"/>
              <a:gd name="connsiteX2" fmla="*/ 3916237 w 3916237"/>
              <a:gd name="connsiteY2" fmla="*/ 1181227 h 1185835"/>
              <a:gd name="connsiteX3" fmla="*/ 416738 w 3916237"/>
              <a:gd name="connsiteY3" fmla="*/ 1185835 h 1185835"/>
              <a:gd name="connsiteX4" fmla="*/ 0 w 3916237"/>
              <a:gd name="connsiteY4" fmla="*/ 5271 h 1185835"/>
              <a:gd name="connsiteX0" fmla="*/ 0 w 3465387"/>
              <a:gd name="connsiteY0" fmla="*/ 5271 h 1185835"/>
              <a:gd name="connsiteX1" fmla="*/ 3465387 w 3465387"/>
              <a:gd name="connsiteY1" fmla="*/ 0 h 1185835"/>
              <a:gd name="connsiteX2" fmla="*/ 3462212 w 3465387"/>
              <a:gd name="connsiteY2" fmla="*/ 1181227 h 1185835"/>
              <a:gd name="connsiteX3" fmla="*/ 416738 w 3465387"/>
              <a:gd name="connsiteY3" fmla="*/ 1185835 h 1185835"/>
              <a:gd name="connsiteX4" fmla="*/ 0 w 3465387"/>
              <a:gd name="connsiteY4" fmla="*/ 5271 h 1185835"/>
              <a:gd name="connsiteX0" fmla="*/ 0 w 3465692"/>
              <a:gd name="connsiteY0" fmla="*/ 5271 h 1189836"/>
              <a:gd name="connsiteX1" fmla="*/ 3465387 w 3465692"/>
              <a:gd name="connsiteY1" fmla="*/ 0 h 1189836"/>
              <a:gd name="connsiteX2" fmla="*/ 3465387 w 3465692"/>
              <a:gd name="connsiteY2" fmla="*/ 1189836 h 1189836"/>
              <a:gd name="connsiteX3" fmla="*/ 416738 w 3465692"/>
              <a:gd name="connsiteY3" fmla="*/ 1185835 h 1189836"/>
              <a:gd name="connsiteX4" fmla="*/ 0 w 3465692"/>
              <a:gd name="connsiteY4" fmla="*/ 5271 h 1189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5692" h="1189836">
                <a:moveTo>
                  <a:pt x="0" y="5271"/>
                </a:moveTo>
                <a:lnTo>
                  <a:pt x="3465387" y="0"/>
                </a:lnTo>
                <a:cubicBezTo>
                  <a:pt x="3464329" y="393742"/>
                  <a:pt x="3466445" y="796094"/>
                  <a:pt x="3465387" y="1189836"/>
                </a:cubicBezTo>
                <a:lnTo>
                  <a:pt x="416738" y="1185835"/>
                </a:lnTo>
                <a:lnTo>
                  <a:pt x="0" y="527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58B2995E-B67E-8C40-8046-5108E851D42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18259" y="1120610"/>
            <a:ext cx="3030411" cy="419783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5271 h 1185835"/>
              <a:gd name="connsiteX1" fmla="*/ 3030412 w 3916237"/>
              <a:gd name="connsiteY1" fmla="*/ 0 h 1185835"/>
              <a:gd name="connsiteX2" fmla="*/ 3916237 w 3916237"/>
              <a:gd name="connsiteY2" fmla="*/ 1181227 h 1185835"/>
              <a:gd name="connsiteX3" fmla="*/ 416738 w 3916237"/>
              <a:gd name="connsiteY3" fmla="*/ 1185835 h 1185835"/>
              <a:gd name="connsiteX4" fmla="*/ 0 w 3916237"/>
              <a:gd name="connsiteY4" fmla="*/ 5271 h 1185835"/>
              <a:gd name="connsiteX0" fmla="*/ 0 w 3030412"/>
              <a:gd name="connsiteY0" fmla="*/ 5271 h 1185835"/>
              <a:gd name="connsiteX1" fmla="*/ 3030412 w 3030412"/>
              <a:gd name="connsiteY1" fmla="*/ 0 h 1185835"/>
              <a:gd name="connsiteX2" fmla="*/ 3027237 w 3030412"/>
              <a:gd name="connsiteY2" fmla="*/ 1181227 h 1185835"/>
              <a:gd name="connsiteX3" fmla="*/ 416738 w 3030412"/>
              <a:gd name="connsiteY3" fmla="*/ 1185835 h 1185835"/>
              <a:gd name="connsiteX4" fmla="*/ 0 w 3030412"/>
              <a:gd name="connsiteY4" fmla="*/ 5271 h 1185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30412" h="1185835">
                <a:moveTo>
                  <a:pt x="0" y="5271"/>
                </a:moveTo>
                <a:lnTo>
                  <a:pt x="3030412" y="0"/>
                </a:lnTo>
                <a:cubicBezTo>
                  <a:pt x="3029354" y="393742"/>
                  <a:pt x="3028295" y="787485"/>
                  <a:pt x="3027237" y="1181227"/>
                </a:cubicBezTo>
                <a:lnTo>
                  <a:pt x="416738" y="1185835"/>
                </a:lnTo>
                <a:lnTo>
                  <a:pt x="0" y="527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33B1F6F3-7175-2448-BFBB-584C7140D9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54546" y="1563859"/>
            <a:ext cx="2592261" cy="418257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67 h 1181531"/>
              <a:gd name="connsiteX1" fmla="*/ 2589087 w 3916237"/>
              <a:gd name="connsiteY1" fmla="*/ 0 h 1181531"/>
              <a:gd name="connsiteX2" fmla="*/ 3916237 w 3916237"/>
              <a:gd name="connsiteY2" fmla="*/ 1176923 h 1181531"/>
              <a:gd name="connsiteX3" fmla="*/ 416738 w 3916237"/>
              <a:gd name="connsiteY3" fmla="*/ 1181531 h 1181531"/>
              <a:gd name="connsiteX4" fmla="*/ 0 w 3916237"/>
              <a:gd name="connsiteY4" fmla="*/ 967 h 1181531"/>
              <a:gd name="connsiteX0" fmla="*/ 0 w 2592262"/>
              <a:gd name="connsiteY0" fmla="*/ 967 h 1181531"/>
              <a:gd name="connsiteX1" fmla="*/ 2589087 w 2592262"/>
              <a:gd name="connsiteY1" fmla="*/ 0 h 1181531"/>
              <a:gd name="connsiteX2" fmla="*/ 2592262 w 2592262"/>
              <a:gd name="connsiteY2" fmla="*/ 1181227 h 1181531"/>
              <a:gd name="connsiteX3" fmla="*/ 416738 w 2592262"/>
              <a:gd name="connsiteY3" fmla="*/ 1181531 h 1181531"/>
              <a:gd name="connsiteX4" fmla="*/ 0 w 2592262"/>
              <a:gd name="connsiteY4" fmla="*/ 967 h 1181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92262" h="1181531">
                <a:moveTo>
                  <a:pt x="0" y="967"/>
                </a:moveTo>
                <a:lnTo>
                  <a:pt x="2589087" y="0"/>
                </a:lnTo>
                <a:cubicBezTo>
                  <a:pt x="2590145" y="393742"/>
                  <a:pt x="2591204" y="787485"/>
                  <a:pt x="2592262" y="1181227"/>
                </a:cubicBezTo>
                <a:lnTo>
                  <a:pt x="416738" y="1181531"/>
                </a:lnTo>
                <a:lnTo>
                  <a:pt x="0" y="967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55" name="Textplatzhalter 4">
            <a:extLst>
              <a:ext uri="{FF2B5EF4-FFF2-40B4-BE49-F238E27FC236}">
                <a16:creationId xmlns:a16="http://schemas.microsoft.com/office/drawing/2014/main" id="{B063F175-38CC-42F7-811C-7040E4C21B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99791" y="887980"/>
            <a:ext cx="245687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7" name="Textplatzhalter 4">
            <a:extLst>
              <a:ext uri="{FF2B5EF4-FFF2-40B4-BE49-F238E27FC236}">
                <a16:creationId xmlns:a16="http://schemas.microsoft.com/office/drawing/2014/main" id="{40527846-F98C-46C5-8E25-D69AD643D1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48322" y="1330139"/>
            <a:ext cx="200834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9" name="Textplatzhalter 4">
            <a:extLst>
              <a:ext uri="{FF2B5EF4-FFF2-40B4-BE49-F238E27FC236}">
                <a16:creationId xmlns:a16="http://schemas.microsoft.com/office/drawing/2014/main" id="{06586DCE-E9D8-49C0-ADC2-CF17B03A5E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86541" y="1773617"/>
            <a:ext cx="157012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B975105-8E39-6F40-9E65-900B15813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>
            <a:off x="5411639" y="778437"/>
            <a:ext cx="776578" cy="221539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734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B272CA78-13D4-3E44-B0ED-ADF0A45666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27763" y="232770"/>
            <a:ext cx="3916238" cy="42130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6237" h="1190140">
                <a:moveTo>
                  <a:pt x="0" y="9576"/>
                </a:moveTo>
                <a:lnTo>
                  <a:pt x="3916237" y="0"/>
                </a:lnTo>
                <a:lnTo>
                  <a:pt x="3916237" y="1185532"/>
                </a:lnTo>
                <a:lnTo>
                  <a:pt x="416738" y="1190140"/>
                </a:lnTo>
                <a:lnTo>
                  <a:pt x="0" y="9576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5DEBB228-DA77-344D-A819-40450ED2B5D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 flipH="1">
            <a:off x="5845442" y="1213000"/>
            <a:ext cx="776578" cy="221539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734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AA6868CB-9C37-7647-BD03-F48D0DBABDF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flipH="1">
            <a:off x="6289729" y="1664253"/>
            <a:ext cx="776578" cy="221539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734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006E3972-7262-4D2F-A0D2-E9CC9FDA21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54080" y="438367"/>
            <a:ext cx="290258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1D705AF0-DCB7-2D4F-B2F8-2854F8E21A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flipH="1">
            <a:off x="4951993" y="327597"/>
            <a:ext cx="776578" cy="221539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734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D692422-F2F5-42E1-BB8D-97303CC546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0" y="114148"/>
            <a:ext cx="8580642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Agenda (4 Angaben)</a:t>
            </a:r>
          </a:p>
        </p:txBody>
      </p:sp>
    </p:spTree>
    <p:extLst>
      <p:ext uri="{BB962C8B-B14F-4D97-AF65-F5344CB8AC3E}">
        <p14:creationId xmlns:p14="http://schemas.microsoft.com/office/powerpoint/2010/main" val="31808263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(5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platzhalter 12">
            <a:extLst>
              <a:ext uri="{FF2B5EF4-FFF2-40B4-BE49-F238E27FC236}">
                <a16:creationId xmlns:a16="http://schemas.microsoft.com/office/drawing/2014/main" id="{723EC7D5-81FF-4C36-9C0E-9FB48B1715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3"/>
            <a:ext cx="9144000" cy="2110889"/>
          </a:xfrm>
          <a:prstGeom prst="rect">
            <a:avLst/>
          </a:prstGeom>
        </p:spPr>
      </p:pic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B3E3F257-2EA8-C448-A839-BF9311D7BFF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597449" y="593886"/>
            <a:ext cx="3555117" cy="32948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5 h 1184419"/>
              <a:gd name="connsiteX1" fmla="*/ 3555115 w 3916237"/>
              <a:gd name="connsiteY1" fmla="*/ 0 h 1184419"/>
              <a:gd name="connsiteX2" fmla="*/ 3916237 w 3916237"/>
              <a:gd name="connsiteY2" fmla="*/ 1179811 h 1184419"/>
              <a:gd name="connsiteX3" fmla="*/ 318313 w 3916237"/>
              <a:gd name="connsiteY3" fmla="*/ 1184419 h 1184419"/>
              <a:gd name="connsiteX4" fmla="*/ 0 w 3916237"/>
              <a:gd name="connsiteY4" fmla="*/ 3855 h 1184419"/>
              <a:gd name="connsiteX0" fmla="*/ 0 w 3555115"/>
              <a:gd name="connsiteY0" fmla="*/ 3855 h 1185533"/>
              <a:gd name="connsiteX1" fmla="*/ 3555115 w 3555115"/>
              <a:gd name="connsiteY1" fmla="*/ 0 h 1185533"/>
              <a:gd name="connsiteX2" fmla="*/ 3555115 w 3555115"/>
              <a:gd name="connsiteY2" fmla="*/ 1185533 h 1185533"/>
              <a:gd name="connsiteX3" fmla="*/ 318313 w 3555115"/>
              <a:gd name="connsiteY3" fmla="*/ 1184419 h 1185533"/>
              <a:gd name="connsiteX4" fmla="*/ 0 w 3555115"/>
              <a:gd name="connsiteY4" fmla="*/ 3855 h 1185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55115" h="1185533">
                <a:moveTo>
                  <a:pt x="0" y="3855"/>
                </a:moveTo>
                <a:lnTo>
                  <a:pt x="3555115" y="0"/>
                </a:lnTo>
                <a:lnTo>
                  <a:pt x="3555115" y="1185533"/>
                </a:lnTo>
                <a:lnTo>
                  <a:pt x="318313" y="1184419"/>
                </a:lnTo>
                <a:lnTo>
                  <a:pt x="0" y="3855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E313362-BA83-6D46-A39B-E7A88FBDCD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946367" y="947485"/>
            <a:ext cx="3213871" cy="32917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3 h 1184417"/>
              <a:gd name="connsiteX1" fmla="*/ 3213872 w 3916237"/>
              <a:gd name="connsiteY1" fmla="*/ 0 h 1184417"/>
              <a:gd name="connsiteX2" fmla="*/ 3916237 w 3916237"/>
              <a:gd name="connsiteY2" fmla="*/ 1179809 h 1184417"/>
              <a:gd name="connsiteX3" fmla="*/ 318313 w 3916237"/>
              <a:gd name="connsiteY3" fmla="*/ 1184417 h 1184417"/>
              <a:gd name="connsiteX4" fmla="*/ 0 w 3916237"/>
              <a:gd name="connsiteY4" fmla="*/ 3853 h 1184417"/>
              <a:gd name="connsiteX0" fmla="*/ 0 w 3213872"/>
              <a:gd name="connsiteY0" fmla="*/ 3853 h 1184417"/>
              <a:gd name="connsiteX1" fmla="*/ 3213872 w 3213872"/>
              <a:gd name="connsiteY1" fmla="*/ 0 h 1184417"/>
              <a:gd name="connsiteX2" fmla="*/ 3207246 w 3213872"/>
              <a:gd name="connsiteY2" fmla="*/ 1179810 h 1184417"/>
              <a:gd name="connsiteX3" fmla="*/ 318313 w 3213872"/>
              <a:gd name="connsiteY3" fmla="*/ 1184417 h 1184417"/>
              <a:gd name="connsiteX4" fmla="*/ 0 w 3213872"/>
              <a:gd name="connsiteY4" fmla="*/ 3853 h 1184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3872" h="1184417">
                <a:moveTo>
                  <a:pt x="0" y="3853"/>
                </a:moveTo>
                <a:lnTo>
                  <a:pt x="3213872" y="0"/>
                </a:lnTo>
                <a:cubicBezTo>
                  <a:pt x="3211663" y="393270"/>
                  <a:pt x="3209455" y="786540"/>
                  <a:pt x="3207246" y="1179810"/>
                </a:cubicBezTo>
                <a:lnTo>
                  <a:pt x="318313" y="1184417"/>
                </a:lnTo>
                <a:lnTo>
                  <a:pt x="0" y="3853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D19C2651-89E3-6440-9699-C1764DE7C7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01297" y="1300775"/>
            <a:ext cx="2856062" cy="32917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5 h 1184419"/>
              <a:gd name="connsiteX1" fmla="*/ 2856063 w 3916237"/>
              <a:gd name="connsiteY1" fmla="*/ 0 h 1184419"/>
              <a:gd name="connsiteX2" fmla="*/ 3916237 w 3916237"/>
              <a:gd name="connsiteY2" fmla="*/ 1179811 h 1184419"/>
              <a:gd name="connsiteX3" fmla="*/ 318313 w 3916237"/>
              <a:gd name="connsiteY3" fmla="*/ 1184419 h 1184419"/>
              <a:gd name="connsiteX4" fmla="*/ 0 w 3916237"/>
              <a:gd name="connsiteY4" fmla="*/ 3855 h 1184419"/>
              <a:gd name="connsiteX0" fmla="*/ 0 w 2856063"/>
              <a:gd name="connsiteY0" fmla="*/ 3855 h 1184419"/>
              <a:gd name="connsiteX1" fmla="*/ 2856063 w 2856063"/>
              <a:gd name="connsiteY1" fmla="*/ 0 h 1184419"/>
              <a:gd name="connsiteX2" fmla="*/ 2849437 w 2856063"/>
              <a:gd name="connsiteY2" fmla="*/ 1179812 h 1184419"/>
              <a:gd name="connsiteX3" fmla="*/ 318313 w 2856063"/>
              <a:gd name="connsiteY3" fmla="*/ 1184419 h 1184419"/>
              <a:gd name="connsiteX4" fmla="*/ 0 w 2856063"/>
              <a:gd name="connsiteY4" fmla="*/ 3855 h 1184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6063" h="1184419">
                <a:moveTo>
                  <a:pt x="0" y="3855"/>
                </a:moveTo>
                <a:lnTo>
                  <a:pt x="2856063" y="0"/>
                </a:lnTo>
                <a:cubicBezTo>
                  <a:pt x="2853854" y="393271"/>
                  <a:pt x="2851646" y="786541"/>
                  <a:pt x="2849437" y="1179812"/>
                </a:cubicBezTo>
                <a:lnTo>
                  <a:pt x="318313" y="1184419"/>
                </a:lnTo>
                <a:lnTo>
                  <a:pt x="0" y="3855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48A88F9C-03FE-F54F-94D0-1CDBAB5377D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6228" y="1654066"/>
            <a:ext cx="2498252" cy="32917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5 h 1184419"/>
              <a:gd name="connsiteX1" fmla="*/ 2498254 w 3916237"/>
              <a:gd name="connsiteY1" fmla="*/ 0 h 1184419"/>
              <a:gd name="connsiteX2" fmla="*/ 3916237 w 3916237"/>
              <a:gd name="connsiteY2" fmla="*/ 1179811 h 1184419"/>
              <a:gd name="connsiteX3" fmla="*/ 318313 w 3916237"/>
              <a:gd name="connsiteY3" fmla="*/ 1184419 h 1184419"/>
              <a:gd name="connsiteX4" fmla="*/ 0 w 3916237"/>
              <a:gd name="connsiteY4" fmla="*/ 3855 h 1184419"/>
              <a:gd name="connsiteX0" fmla="*/ 0 w 2498254"/>
              <a:gd name="connsiteY0" fmla="*/ 3855 h 1184419"/>
              <a:gd name="connsiteX1" fmla="*/ 2498254 w 2498254"/>
              <a:gd name="connsiteY1" fmla="*/ 0 h 1184419"/>
              <a:gd name="connsiteX2" fmla="*/ 2494941 w 2498254"/>
              <a:gd name="connsiteY2" fmla="*/ 1179812 h 1184419"/>
              <a:gd name="connsiteX3" fmla="*/ 318313 w 2498254"/>
              <a:gd name="connsiteY3" fmla="*/ 1184419 h 1184419"/>
              <a:gd name="connsiteX4" fmla="*/ 0 w 2498254"/>
              <a:gd name="connsiteY4" fmla="*/ 3855 h 1184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98254" h="1184419">
                <a:moveTo>
                  <a:pt x="0" y="3855"/>
                </a:moveTo>
                <a:lnTo>
                  <a:pt x="2498254" y="0"/>
                </a:lnTo>
                <a:cubicBezTo>
                  <a:pt x="2497150" y="393271"/>
                  <a:pt x="2496045" y="786541"/>
                  <a:pt x="2494941" y="1179812"/>
                </a:cubicBezTo>
                <a:lnTo>
                  <a:pt x="318313" y="1184419"/>
                </a:lnTo>
                <a:lnTo>
                  <a:pt x="0" y="3855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74619461-DCE2-E04D-B213-E2C2057F35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2689" y="239009"/>
            <a:ext cx="3916238" cy="33076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6237" h="1190140">
                <a:moveTo>
                  <a:pt x="0" y="9576"/>
                </a:moveTo>
                <a:lnTo>
                  <a:pt x="3916237" y="0"/>
                </a:lnTo>
                <a:lnTo>
                  <a:pt x="3916237" y="1185532"/>
                </a:lnTo>
                <a:lnTo>
                  <a:pt x="318313" y="1190140"/>
                </a:lnTo>
                <a:lnTo>
                  <a:pt x="0" y="9576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6AEF2793-1135-403E-AEF2-D90DD5856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53250" y="403159"/>
            <a:ext cx="2908338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78597FC3-952A-B54E-A1FD-86E19ACA245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 flipH="1">
            <a:off x="4911848" y="297144"/>
            <a:ext cx="776578" cy="221539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734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8FCC801-B420-1F43-82AF-DE532C2DA7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flipH="1">
            <a:off x="5282152" y="648851"/>
            <a:ext cx="776578" cy="221539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734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EAFF4431-34B1-F448-9684-AD20DD037CF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flipH="1">
            <a:off x="5628798" y="1004082"/>
            <a:ext cx="776578" cy="221539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734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9A14905C-BDDA-BB49-9EC4-96122F715A2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flipH="1">
            <a:off x="5984469" y="1358507"/>
            <a:ext cx="776578" cy="221539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734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2368D683-1F7A-6D49-B62C-ED5726BFCDE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6346093" y="1713062"/>
            <a:ext cx="776578" cy="221539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734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64" name="Textplatzhalter 4">
            <a:extLst>
              <a:ext uri="{FF2B5EF4-FFF2-40B4-BE49-F238E27FC236}">
                <a16:creationId xmlns:a16="http://schemas.microsoft.com/office/drawing/2014/main" id="{3636E4F0-72FA-4FE7-B519-DD15D6FE36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81038" y="1822062"/>
            <a:ext cx="148055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62" name="Textplatzhalter 4">
            <a:extLst>
              <a:ext uri="{FF2B5EF4-FFF2-40B4-BE49-F238E27FC236}">
                <a16:creationId xmlns:a16="http://schemas.microsoft.com/office/drawing/2014/main" id="{62B35A94-04B8-44D6-A896-AB846A110C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4478" y="1469276"/>
            <a:ext cx="183711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60" name="Textplatzhalter 4">
            <a:extLst>
              <a:ext uri="{FF2B5EF4-FFF2-40B4-BE49-F238E27FC236}">
                <a16:creationId xmlns:a16="http://schemas.microsoft.com/office/drawing/2014/main" id="{577EC97F-9199-450F-B723-7DF7F6966C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6964" y="1112455"/>
            <a:ext cx="2194628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0" name="Textplatzhalter 4">
            <a:extLst>
              <a:ext uri="{FF2B5EF4-FFF2-40B4-BE49-F238E27FC236}">
                <a16:creationId xmlns:a16="http://schemas.microsoft.com/office/drawing/2014/main" id="{6A1EB573-FCA9-403D-A524-B4D70FA091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18122" y="761477"/>
            <a:ext cx="2543468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25CF8AA7-E869-419A-B46F-1E730BB572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024" y="114148"/>
            <a:ext cx="8585568" cy="15935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3200" b="1" dirty="0"/>
              <a:t>Agenda (5 Angaben)</a:t>
            </a:r>
          </a:p>
        </p:txBody>
      </p:sp>
    </p:spTree>
    <p:extLst>
      <p:ext uri="{BB962C8B-B14F-4D97-AF65-F5344CB8AC3E}">
        <p14:creationId xmlns:p14="http://schemas.microsoft.com/office/powerpoint/2010/main" val="446621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winkliges Dreieck 1">
            <a:extLst>
              <a:ext uri="{FF2B5EF4-FFF2-40B4-BE49-F238E27FC236}">
                <a16:creationId xmlns:a16="http://schemas.microsoft.com/office/drawing/2014/main" id="{77827609-B996-4C67-A894-DBD475544679}"/>
              </a:ext>
            </a:extLst>
          </p:cNvPr>
          <p:cNvSpPr/>
          <p:nvPr userDrawn="1"/>
        </p:nvSpPr>
        <p:spPr>
          <a:xfrm>
            <a:off x="4" y="0"/>
            <a:ext cx="4133850" cy="2468563"/>
          </a:xfrm>
          <a:custGeom>
            <a:avLst/>
            <a:gdLst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2717800 w 2717800"/>
              <a:gd name="connsiteY2" fmla="*/ 4386262 h 4386262"/>
              <a:gd name="connsiteX3" fmla="*/ 0 w 2717800"/>
              <a:gd name="connsiteY3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416966 w 2717800"/>
              <a:gd name="connsiteY2" fmla="*/ 676541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687629 w 2717800"/>
              <a:gd name="connsiteY2" fmla="*/ 3543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687629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1565453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3602" h="4386262">
                <a:moveTo>
                  <a:pt x="0" y="4386262"/>
                </a:moveTo>
                <a:lnTo>
                  <a:pt x="0" y="0"/>
                </a:lnTo>
                <a:lnTo>
                  <a:pt x="1565453" y="3543"/>
                </a:lnTo>
                <a:lnTo>
                  <a:pt x="3873602" y="4386262"/>
                </a:lnTo>
                <a:lnTo>
                  <a:pt x="0" y="43862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/>
          </a:bodyPr>
          <a:lstStyle/>
          <a:p>
            <a:pPr algn="ctr" eaLnBrk="1"/>
            <a:endParaRPr lang="de-DE" sz="2670" dirty="0">
              <a:latin typeface="+mj-lt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016464740"/>
              </p:ext>
            </p:extLst>
          </p:nvPr>
        </p:nvGraphicFramePr>
        <p:xfrm>
          <a:off x="1430" y="687"/>
          <a:ext cx="1428" cy="6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71" name="think-cell Folie" r:id="rId37" imgW="270" imgH="270" progId="TCLayout.ActiveDocument.1">
                  <p:embed/>
                </p:oleObj>
              </mc:Choice>
              <mc:Fallback>
                <p:oleObj name="think-cell Foli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430" y="687"/>
                        <a:ext cx="1428" cy="6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KPL08" hidden="1"/>
          <p:cNvSpPr/>
          <p:nvPr userDrawn="1"/>
        </p:nvSpPr>
        <p:spPr>
          <a:xfrm>
            <a:off x="7101960" y="2333722"/>
            <a:ext cx="701422" cy="131809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de-DE" sz="1866" b="0" dirty="0">
                <a:solidFill>
                  <a:srgbClr val="658E11"/>
                </a:solidFill>
              </a:rPr>
              <a:t>Keine Kenntlichmachung</a:t>
            </a:r>
          </a:p>
        </p:txBody>
      </p:sp>
      <p:sp>
        <p:nvSpPr>
          <p:cNvPr id="16" name="Rechteck 1">
            <a:extLst>
              <a:ext uri="{FF2B5EF4-FFF2-40B4-BE49-F238E27FC236}">
                <a16:creationId xmlns:a16="http://schemas.microsoft.com/office/drawing/2014/main" id="{76410061-FB63-394F-8BEB-39D45BA00EA9}"/>
              </a:ext>
            </a:extLst>
          </p:cNvPr>
          <p:cNvSpPr/>
          <p:nvPr userDrawn="1"/>
        </p:nvSpPr>
        <p:spPr>
          <a:xfrm>
            <a:off x="-1283" y="2167790"/>
            <a:ext cx="644917" cy="180308"/>
          </a:xfrm>
          <a:custGeom>
            <a:avLst/>
            <a:gdLst>
              <a:gd name="connsiteX0" fmla="*/ 0 w 407233"/>
              <a:gd name="connsiteY0" fmla="*/ 0 h 374401"/>
              <a:gd name="connsiteX1" fmla="*/ 407233 w 407233"/>
              <a:gd name="connsiteY1" fmla="*/ 0 h 374401"/>
              <a:gd name="connsiteX2" fmla="*/ 407233 w 407233"/>
              <a:gd name="connsiteY2" fmla="*/ 374401 h 374401"/>
              <a:gd name="connsiteX3" fmla="*/ 0 w 407233"/>
              <a:gd name="connsiteY3" fmla="*/ 374401 h 374401"/>
              <a:gd name="connsiteX4" fmla="*/ 0 w 407233"/>
              <a:gd name="connsiteY4" fmla="*/ 0 h 374401"/>
              <a:gd name="connsiteX0" fmla="*/ 0 w 592112"/>
              <a:gd name="connsiteY0" fmla="*/ 0 h 374401"/>
              <a:gd name="connsiteX1" fmla="*/ 592112 w 592112"/>
              <a:gd name="connsiteY1" fmla="*/ 2499 h 374401"/>
              <a:gd name="connsiteX2" fmla="*/ 407233 w 592112"/>
              <a:gd name="connsiteY2" fmla="*/ 374401 h 374401"/>
              <a:gd name="connsiteX3" fmla="*/ 0 w 592112"/>
              <a:gd name="connsiteY3" fmla="*/ 374401 h 374401"/>
              <a:gd name="connsiteX4" fmla="*/ 0 w 592112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07233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53597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465841"/>
              <a:gd name="connsiteX1" fmla="*/ 643627 w 643627"/>
              <a:gd name="connsiteY1" fmla="*/ 2499 h 465841"/>
              <a:gd name="connsiteX2" fmla="*/ 453597 w 643627"/>
              <a:gd name="connsiteY2" fmla="*/ 374401 h 465841"/>
              <a:gd name="connsiteX3" fmla="*/ 91440 w 643627"/>
              <a:gd name="connsiteY3" fmla="*/ 465841 h 465841"/>
              <a:gd name="connsiteX0" fmla="*/ 1288 w 644915"/>
              <a:gd name="connsiteY0" fmla="*/ 0 h 375689"/>
              <a:gd name="connsiteX1" fmla="*/ 644915 w 644915"/>
              <a:gd name="connsiteY1" fmla="*/ 2499 h 375689"/>
              <a:gd name="connsiteX2" fmla="*/ 454885 w 644915"/>
              <a:gd name="connsiteY2" fmla="*/ 374401 h 375689"/>
              <a:gd name="connsiteX3" fmla="*/ 0 w 644915"/>
              <a:gd name="connsiteY3" fmla="*/ 375689 h 375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915" h="375689">
                <a:moveTo>
                  <a:pt x="1288" y="0"/>
                </a:moveTo>
                <a:lnTo>
                  <a:pt x="644915" y="2499"/>
                </a:lnTo>
                <a:lnTo>
                  <a:pt x="454885" y="374401"/>
                </a:lnTo>
                <a:lnTo>
                  <a:pt x="0" y="375689"/>
                </a:lnTo>
              </a:path>
            </a:pathLst>
          </a:custGeom>
          <a:solidFill>
            <a:schemeClr val="bg1"/>
          </a:solidFill>
          <a:ln w="3175">
            <a:noFill/>
          </a:ln>
          <a:effectLst>
            <a:outerShdw blurRad="190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60175" tIns="53392" rIns="160175" bIns="53392" rtlCol="0" anchor="ctr" anchorCtr="0">
            <a:normAutofit fontScale="25000" lnSpcReduction="20000"/>
          </a:bodyPr>
          <a:lstStyle/>
          <a:p>
            <a:pPr algn="ctr"/>
            <a:endParaRPr lang="de-DE" sz="2670" dirty="0">
              <a:latin typeface="+mj-lt"/>
            </a:endParaRPr>
          </a:p>
        </p:txBody>
      </p:sp>
      <p:sp>
        <p:nvSpPr>
          <p:cNvPr id="22" name="textBoxPageXFromY">
            <a:extLst>
              <a:ext uri="{FF2B5EF4-FFF2-40B4-BE49-F238E27FC236}">
                <a16:creationId xmlns:a16="http://schemas.microsoft.com/office/drawing/2014/main" id="{6C2ED314-14D2-FA4B-80DF-F41F7F264F70}"/>
              </a:ext>
            </a:extLst>
          </p:cNvPr>
          <p:cNvSpPr txBox="1">
            <a:spLocks/>
          </p:cNvSpPr>
          <p:nvPr userDrawn="1"/>
        </p:nvSpPr>
        <p:spPr>
          <a:xfrm>
            <a:off x="-1286" y="2197164"/>
            <a:ext cx="534089" cy="13180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A0D4A06-67B2-402C-A949-A68965EC9D40}" type="slidenum">
              <a:rPr lang="de-DE" sz="1200" smtClean="0"/>
              <a:t>‹#›</a:t>
            </a:fld>
            <a:r>
              <a:rPr lang="de-DE" sz="1200" dirty="0"/>
              <a:t>/27</a:t>
            </a:r>
          </a:p>
        </p:txBody>
      </p:sp>
      <p:grpSp>
        <p:nvGrpSpPr>
          <p:cNvPr id="23" name="picPorsche">
            <a:extLst>
              <a:ext uri="{FF2B5EF4-FFF2-40B4-BE49-F238E27FC236}">
                <a16:creationId xmlns:a16="http://schemas.microsoft.com/office/drawing/2014/main" id="{CBBA5313-32CD-FD49-A6C2-772037E4C36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95960" y="2240344"/>
            <a:ext cx="1800000" cy="65064"/>
            <a:chOff x="3848100" y="2519363"/>
            <a:chExt cx="1452563" cy="109538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D26CA93C-FBBD-8C40-879D-C4FA14456A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813" y="2519363"/>
              <a:ext cx="196850" cy="109538"/>
            </a:xfrm>
            <a:custGeom>
              <a:avLst/>
              <a:gdLst>
                <a:gd name="T0" fmla="*/ 124 w 124"/>
                <a:gd name="T1" fmla="*/ 12 h 69"/>
                <a:gd name="T2" fmla="*/ 124 w 124"/>
                <a:gd name="T3" fmla="*/ 0 h 69"/>
                <a:gd name="T4" fmla="*/ 0 w 124"/>
                <a:gd name="T5" fmla="*/ 0 h 69"/>
                <a:gd name="T6" fmla="*/ 0 w 124"/>
                <a:gd name="T7" fmla="*/ 69 h 69"/>
                <a:gd name="T8" fmla="*/ 124 w 124"/>
                <a:gd name="T9" fmla="*/ 69 h 69"/>
                <a:gd name="T10" fmla="*/ 124 w 124"/>
                <a:gd name="T11" fmla="*/ 57 h 69"/>
                <a:gd name="T12" fmla="*/ 13 w 124"/>
                <a:gd name="T13" fmla="*/ 57 h 69"/>
                <a:gd name="T14" fmla="*/ 13 w 124"/>
                <a:gd name="T15" fmla="*/ 39 h 69"/>
                <a:gd name="T16" fmla="*/ 124 w 124"/>
                <a:gd name="T17" fmla="*/ 39 h 69"/>
                <a:gd name="T18" fmla="*/ 124 w 124"/>
                <a:gd name="T19" fmla="*/ 27 h 69"/>
                <a:gd name="T20" fmla="*/ 13 w 124"/>
                <a:gd name="T21" fmla="*/ 27 h 69"/>
                <a:gd name="T22" fmla="*/ 13 w 124"/>
                <a:gd name="T23" fmla="*/ 12 h 69"/>
                <a:gd name="T24" fmla="*/ 124 w 124"/>
                <a:gd name="T25" fmla="*/ 1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" h="69">
                  <a:moveTo>
                    <a:pt x="124" y="12"/>
                  </a:moveTo>
                  <a:lnTo>
                    <a:pt x="124" y="0"/>
                  </a:lnTo>
                  <a:lnTo>
                    <a:pt x="0" y="0"/>
                  </a:lnTo>
                  <a:lnTo>
                    <a:pt x="0" y="69"/>
                  </a:lnTo>
                  <a:lnTo>
                    <a:pt x="124" y="69"/>
                  </a:lnTo>
                  <a:lnTo>
                    <a:pt x="124" y="57"/>
                  </a:lnTo>
                  <a:lnTo>
                    <a:pt x="13" y="57"/>
                  </a:lnTo>
                  <a:lnTo>
                    <a:pt x="13" y="39"/>
                  </a:lnTo>
                  <a:lnTo>
                    <a:pt x="124" y="39"/>
                  </a:lnTo>
                  <a:lnTo>
                    <a:pt x="124" y="27"/>
                  </a:lnTo>
                  <a:lnTo>
                    <a:pt x="13" y="27"/>
                  </a:lnTo>
                  <a:lnTo>
                    <a:pt x="13" y="12"/>
                  </a:lnTo>
                  <a:lnTo>
                    <a:pt x="124" y="1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670" dirty="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CD934BCF-6F13-F348-A3AD-5B1C999C6D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3788" y="2519363"/>
              <a:ext cx="174625" cy="109538"/>
            </a:xfrm>
            <a:custGeom>
              <a:avLst/>
              <a:gdLst>
                <a:gd name="T0" fmla="*/ 96 w 110"/>
                <a:gd name="T1" fmla="*/ 27 h 69"/>
                <a:gd name="T2" fmla="*/ 13 w 110"/>
                <a:gd name="T3" fmla="*/ 27 h 69"/>
                <a:gd name="T4" fmla="*/ 13 w 110"/>
                <a:gd name="T5" fmla="*/ 0 h 69"/>
                <a:gd name="T6" fmla="*/ 0 w 110"/>
                <a:gd name="T7" fmla="*/ 0 h 69"/>
                <a:gd name="T8" fmla="*/ 0 w 110"/>
                <a:gd name="T9" fmla="*/ 69 h 69"/>
                <a:gd name="T10" fmla="*/ 13 w 110"/>
                <a:gd name="T11" fmla="*/ 69 h 69"/>
                <a:gd name="T12" fmla="*/ 13 w 110"/>
                <a:gd name="T13" fmla="*/ 42 h 69"/>
                <a:gd name="T14" fmla="*/ 96 w 110"/>
                <a:gd name="T15" fmla="*/ 42 h 69"/>
                <a:gd name="T16" fmla="*/ 96 w 110"/>
                <a:gd name="T17" fmla="*/ 69 h 69"/>
                <a:gd name="T18" fmla="*/ 110 w 110"/>
                <a:gd name="T19" fmla="*/ 69 h 69"/>
                <a:gd name="T20" fmla="*/ 110 w 110"/>
                <a:gd name="T21" fmla="*/ 42 h 69"/>
                <a:gd name="T22" fmla="*/ 110 w 110"/>
                <a:gd name="T23" fmla="*/ 27 h 69"/>
                <a:gd name="T24" fmla="*/ 110 w 110"/>
                <a:gd name="T25" fmla="*/ 0 h 69"/>
                <a:gd name="T26" fmla="*/ 96 w 110"/>
                <a:gd name="T27" fmla="*/ 0 h 69"/>
                <a:gd name="T28" fmla="*/ 96 w 110"/>
                <a:gd name="T29" fmla="*/ 2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0" h="69">
                  <a:moveTo>
                    <a:pt x="96" y="27"/>
                  </a:moveTo>
                  <a:lnTo>
                    <a:pt x="13" y="27"/>
                  </a:lnTo>
                  <a:lnTo>
                    <a:pt x="13" y="0"/>
                  </a:lnTo>
                  <a:lnTo>
                    <a:pt x="0" y="0"/>
                  </a:lnTo>
                  <a:lnTo>
                    <a:pt x="0" y="69"/>
                  </a:lnTo>
                  <a:lnTo>
                    <a:pt x="13" y="69"/>
                  </a:lnTo>
                  <a:lnTo>
                    <a:pt x="13" y="42"/>
                  </a:lnTo>
                  <a:lnTo>
                    <a:pt x="96" y="42"/>
                  </a:lnTo>
                  <a:lnTo>
                    <a:pt x="96" y="69"/>
                  </a:lnTo>
                  <a:lnTo>
                    <a:pt x="110" y="69"/>
                  </a:lnTo>
                  <a:lnTo>
                    <a:pt x="110" y="42"/>
                  </a:lnTo>
                  <a:lnTo>
                    <a:pt x="110" y="27"/>
                  </a:lnTo>
                  <a:lnTo>
                    <a:pt x="110" y="0"/>
                  </a:lnTo>
                  <a:lnTo>
                    <a:pt x="96" y="0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670" dirty="0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6BFA79A0-5AD0-0A40-BD13-EA25487CC2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97413" y="2519363"/>
              <a:ext cx="179388" cy="109538"/>
            </a:xfrm>
            <a:custGeom>
              <a:avLst/>
              <a:gdLst>
                <a:gd name="T0" fmla="*/ 0 w 42"/>
                <a:gd name="T1" fmla="*/ 5 h 23"/>
                <a:gd name="T2" fmla="*/ 0 w 42"/>
                <a:gd name="T3" fmla="*/ 18 h 23"/>
                <a:gd name="T4" fmla="*/ 5 w 42"/>
                <a:gd name="T5" fmla="*/ 23 h 23"/>
                <a:gd name="T6" fmla="*/ 42 w 42"/>
                <a:gd name="T7" fmla="*/ 23 h 23"/>
                <a:gd name="T8" fmla="*/ 42 w 42"/>
                <a:gd name="T9" fmla="*/ 18 h 23"/>
                <a:gd name="T10" fmla="*/ 6 w 42"/>
                <a:gd name="T11" fmla="*/ 18 h 23"/>
                <a:gd name="T12" fmla="*/ 5 w 42"/>
                <a:gd name="T13" fmla="*/ 17 h 23"/>
                <a:gd name="T14" fmla="*/ 5 w 42"/>
                <a:gd name="T15" fmla="*/ 5 h 23"/>
                <a:gd name="T16" fmla="*/ 6 w 42"/>
                <a:gd name="T17" fmla="*/ 5 h 23"/>
                <a:gd name="T18" fmla="*/ 42 w 42"/>
                <a:gd name="T19" fmla="*/ 5 h 23"/>
                <a:gd name="T20" fmla="*/ 42 w 42"/>
                <a:gd name="T21" fmla="*/ 0 h 23"/>
                <a:gd name="T22" fmla="*/ 5 w 42"/>
                <a:gd name="T23" fmla="*/ 0 h 23"/>
                <a:gd name="T24" fmla="*/ 0 w 42"/>
                <a:gd name="T25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3">
                  <a:moveTo>
                    <a:pt x="0" y="5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1"/>
                    <a:pt x="2" y="23"/>
                    <a:pt x="5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7"/>
                    <a:pt x="5" y="17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670" dirty="0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8830C25E-1DCD-A444-83D4-A859B36221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4688" y="2519363"/>
              <a:ext cx="187325" cy="109538"/>
            </a:xfrm>
            <a:custGeom>
              <a:avLst/>
              <a:gdLst>
                <a:gd name="T0" fmla="*/ 38 w 44"/>
                <a:gd name="T1" fmla="*/ 9 h 23"/>
                <a:gd name="T2" fmla="*/ 6 w 44"/>
                <a:gd name="T3" fmla="*/ 9 h 23"/>
                <a:gd name="T4" fmla="*/ 6 w 44"/>
                <a:gd name="T5" fmla="*/ 9 h 23"/>
                <a:gd name="T6" fmla="*/ 5 w 44"/>
                <a:gd name="T7" fmla="*/ 8 h 23"/>
                <a:gd name="T8" fmla="*/ 5 w 44"/>
                <a:gd name="T9" fmla="*/ 5 h 23"/>
                <a:gd name="T10" fmla="*/ 6 w 44"/>
                <a:gd name="T11" fmla="*/ 4 h 23"/>
                <a:gd name="T12" fmla="*/ 43 w 44"/>
                <a:gd name="T13" fmla="*/ 4 h 23"/>
                <a:gd name="T14" fmla="*/ 43 w 44"/>
                <a:gd name="T15" fmla="*/ 0 h 23"/>
                <a:gd name="T16" fmla="*/ 5 w 44"/>
                <a:gd name="T17" fmla="*/ 0 h 23"/>
                <a:gd name="T18" fmla="*/ 0 w 44"/>
                <a:gd name="T19" fmla="*/ 5 h 23"/>
                <a:gd name="T20" fmla="*/ 0 w 44"/>
                <a:gd name="T21" fmla="*/ 8 h 23"/>
                <a:gd name="T22" fmla="*/ 5 w 44"/>
                <a:gd name="T23" fmla="*/ 13 h 23"/>
                <a:gd name="T24" fmla="*/ 38 w 44"/>
                <a:gd name="T25" fmla="*/ 13 h 23"/>
                <a:gd name="T26" fmla="*/ 38 w 44"/>
                <a:gd name="T27" fmla="*/ 14 h 23"/>
                <a:gd name="T28" fmla="*/ 38 w 44"/>
                <a:gd name="T29" fmla="*/ 14 h 23"/>
                <a:gd name="T30" fmla="*/ 38 w 44"/>
                <a:gd name="T31" fmla="*/ 18 h 23"/>
                <a:gd name="T32" fmla="*/ 38 w 44"/>
                <a:gd name="T33" fmla="*/ 19 h 23"/>
                <a:gd name="T34" fmla="*/ 0 w 44"/>
                <a:gd name="T35" fmla="*/ 19 h 23"/>
                <a:gd name="T36" fmla="*/ 0 w 44"/>
                <a:gd name="T37" fmla="*/ 23 h 23"/>
                <a:gd name="T38" fmla="*/ 38 w 44"/>
                <a:gd name="T39" fmla="*/ 23 h 23"/>
                <a:gd name="T40" fmla="*/ 44 w 44"/>
                <a:gd name="T41" fmla="*/ 18 h 23"/>
                <a:gd name="T42" fmla="*/ 44 w 44"/>
                <a:gd name="T43" fmla="*/ 18 h 23"/>
                <a:gd name="T44" fmla="*/ 44 w 44"/>
                <a:gd name="T45" fmla="*/ 14 h 23"/>
                <a:gd name="T46" fmla="*/ 44 w 44"/>
                <a:gd name="T47" fmla="*/ 14 h 23"/>
                <a:gd name="T48" fmla="*/ 38 w 44"/>
                <a:gd name="T4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" h="23">
                  <a:moveTo>
                    <a:pt x="38" y="9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5" y="8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2" y="13"/>
                    <a:pt x="5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9"/>
                    <a:pt x="38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1" y="23"/>
                    <a:pt x="44" y="21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1"/>
                    <a:pt x="41" y="9"/>
                    <a:pt x="38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670" dirty="0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F624E37A-C830-AD49-A3F7-67B54D7543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70375" y="2519363"/>
              <a:ext cx="188913" cy="109538"/>
            </a:xfrm>
            <a:custGeom>
              <a:avLst/>
              <a:gdLst>
                <a:gd name="T0" fmla="*/ 39 w 44"/>
                <a:gd name="T1" fmla="*/ 15 h 23"/>
                <a:gd name="T2" fmla="*/ 44 w 44"/>
                <a:gd name="T3" fmla="*/ 10 h 23"/>
                <a:gd name="T4" fmla="*/ 44 w 44"/>
                <a:gd name="T5" fmla="*/ 5 h 23"/>
                <a:gd name="T6" fmla="*/ 39 w 44"/>
                <a:gd name="T7" fmla="*/ 0 h 23"/>
                <a:gd name="T8" fmla="*/ 39 w 44"/>
                <a:gd name="T9" fmla="*/ 0 h 23"/>
                <a:gd name="T10" fmla="*/ 0 w 44"/>
                <a:gd name="T11" fmla="*/ 0 h 23"/>
                <a:gd name="T12" fmla="*/ 0 w 44"/>
                <a:gd name="T13" fmla="*/ 23 h 23"/>
                <a:gd name="T14" fmla="*/ 5 w 44"/>
                <a:gd name="T15" fmla="*/ 23 h 23"/>
                <a:gd name="T16" fmla="*/ 5 w 44"/>
                <a:gd name="T17" fmla="*/ 17 h 23"/>
                <a:gd name="T18" fmla="*/ 33 w 44"/>
                <a:gd name="T19" fmla="*/ 17 h 23"/>
                <a:gd name="T20" fmla="*/ 33 w 44"/>
                <a:gd name="T21" fmla="*/ 17 h 23"/>
                <a:gd name="T22" fmla="*/ 39 w 44"/>
                <a:gd name="T23" fmla="*/ 22 h 23"/>
                <a:gd name="T24" fmla="*/ 39 w 44"/>
                <a:gd name="T25" fmla="*/ 23 h 23"/>
                <a:gd name="T26" fmla="*/ 44 w 44"/>
                <a:gd name="T27" fmla="*/ 23 h 23"/>
                <a:gd name="T28" fmla="*/ 44 w 44"/>
                <a:gd name="T29" fmla="*/ 23 h 23"/>
                <a:gd name="T30" fmla="*/ 39 w 44"/>
                <a:gd name="T31" fmla="*/ 15 h 23"/>
                <a:gd name="T32" fmla="*/ 39 w 44"/>
                <a:gd name="T33" fmla="*/ 11 h 23"/>
                <a:gd name="T34" fmla="*/ 39 w 44"/>
                <a:gd name="T35" fmla="*/ 11 h 23"/>
                <a:gd name="T36" fmla="*/ 38 w 44"/>
                <a:gd name="T37" fmla="*/ 12 h 23"/>
                <a:gd name="T38" fmla="*/ 5 w 44"/>
                <a:gd name="T39" fmla="*/ 12 h 23"/>
                <a:gd name="T40" fmla="*/ 5 w 44"/>
                <a:gd name="T41" fmla="*/ 5 h 23"/>
                <a:gd name="T42" fmla="*/ 38 w 44"/>
                <a:gd name="T43" fmla="*/ 5 h 23"/>
                <a:gd name="T44" fmla="*/ 39 w 44"/>
                <a:gd name="T45" fmla="*/ 6 h 23"/>
                <a:gd name="T46" fmla="*/ 39 w 44"/>
                <a:gd name="T4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23">
                  <a:moveTo>
                    <a:pt x="39" y="15"/>
                  </a:moveTo>
                  <a:cubicBezTo>
                    <a:pt x="42" y="15"/>
                    <a:pt x="44" y="13"/>
                    <a:pt x="44" y="10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2"/>
                    <a:pt x="41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6" y="17"/>
                    <a:pt x="39" y="19"/>
                    <a:pt x="39" y="22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9"/>
                    <a:pt x="42" y="16"/>
                    <a:pt x="39" y="15"/>
                  </a:cubicBezTo>
                  <a:close/>
                  <a:moveTo>
                    <a:pt x="39" y="11"/>
                  </a:move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8" y="12"/>
                    <a:pt x="38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9" y="5"/>
                    <a:pt x="39" y="6"/>
                  </a:cubicBezTo>
                  <a:lnTo>
                    <a:pt x="39" y="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670" dirty="0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9623D47-5DE1-554E-8AAC-A1C1FFB207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57650" y="2519363"/>
              <a:ext cx="187325" cy="109538"/>
            </a:xfrm>
            <a:custGeom>
              <a:avLst/>
              <a:gdLst>
                <a:gd name="T0" fmla="*/ 39 w 44"/>
                <a:gd name="T1" fmla="*/ 0 h 23"/>
                <a:gd name="T2" fmla="*/ 39 w 44"/>
                <a:gd name="T3" fmla="*/ 0 h 23"/>
                <a:gd name="T4" fmla="*/ 6 w 44"/>
                <a:gd name="T5" fmla="*/ 0 h 23"/>
                <a:gd name="T6" fmla="*/ 0 w 44"/>
                <a:gd name="T7" fmla="*/ 5 h 23"/>
                <a:gd name="T8" fmla="*/ 0 w 44"/>
                <a:gd name="T9" fmla="*/ 18 h 23"/>
                <a:gd name="T10" fmla="*/ 6 w 44"/>
                <a:gd name="T11" fmla="*/ 23 h 23"/>
                <a:gd name="T12" fmla="*/ 38 w 44"/>
                <a:gd name="T13" fmla="*/ 23 h 23"/>
                <a:gd name="T14" fmla="*/ 44 w 44"/>
                <a:gd name="T15" fmla="*/ 18 h 23"/>
                <a:gd name="T16" fmla="*/ 44 w 44"/>
                <a:gd name="T17" fmla="*/ 18 h 23"/>
                <a:gd name="T18" fmla="*/ 44 w 44"/>
                <a:gd name="T19" fmla="*/ 18 h 23"/>
                <a:gd name="T20" fmla="*/ 44 w 44"/>
                <a:gd name="T21" fmla="*/ 5 h 23"/>
                <a:gd name="T22" fmla="*/ 39 w 44"/>
                <a:gd name="T23" fmla="*/ 0 h 23"/>
                <a:gd name="T24" fmla="*/ 38 w 44"/>
                <a:gd name="T25" fmla="*/ 17 h 23"/>
                <a:gd name="T26" fmla="*/ 38 w 44"/>
                <a:gd name="T27" fmla="*/ 18 h 23"/>
                <a:gd name="T28" fmla="*/ 6 w 44"/>
                <a:gd name="T29" fmla="*/ 18 h 23"/>
                <a:gd name="T30" fmla="*/ 6 w 44"/>
                <a:gd name="T31" fmla="*/ 17 h 23"/>
                <a:gd name="T32" fmla="*/ 6 w 44"/>
                <a:gd name="T33" fmla="*/ 5 h 23"/>
                <a:gd name="T34" fmla="*/ 6 w 44"/>
                <a:gd name="T35" fmla="*/ 5 h 23"/>
                <a:gd name="T36" fmla="*/ 38 w 44"/>
                <a:gd name="T37" fmla="*/ 5 h 23"/>
                <a:gd name="T38" fmla="*/ 38 w 44"/>
                <a:gd name="T39" fmla="*/ 6 h 23"/>
                <a:gd name="T40" fmla="*/ 38 w 44"/>
                <a:gd name="T41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" h="23">
                  <a:moveTo>
                    <a:pt x="39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1"/>
                    <a:pt x="3" y="23"/>
                    <a:pt x="6" y="2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1" y="23"/>
                    <a:pt x="44" y="21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2"/>
                    <a:pt x="41" y="0"/>
                    <a:pt x="39" y="0"/>
                  </a:cubicBezTo>
                  <a:close/>
                  <a:moveTo>
                    <a:pt x="38" y="17"/>
                  </a:moveTo>
                  <a:cubicBezTo>
                    <a:pt x="38" y="17"/>
                    <a:pt x="38" y="18"/>
                    <a:pt x="3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7"/>
                    <a:pt x="6" y="17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6"/>
                  </a:cubicBezTo>
                  <a:lnTo>
                    <a:pt x="38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670" dirty="0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DAF7E169-8825-7248-9FB1-2A1655A427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48100" y="2519363"/>
              <a:ext cx="184150" cy="109538"/>
            </a:xfrm>
            <a:custGeom>
              <a:avLst/>
              <a:gdLst>
                <a:gd name="T0" fmla="*/ 38 w 43"/>
                <a:gd name="T1" fmla="*/ 0 h 23"/>
                <a:gd name="T2" fmla="*/ 38 w 43"/>
                <a:gd name="T3" fmla="*/ 0 h 23"/>
                <a:gd name="T4" fmla="*/ 0 w 43"/>
                <a:gd name="T5" fmla="*/ 0 h 23"/>
                <a:gd name="T6" fmla="*/ 0 w 43"/>
                <a:gd name="T7" fmla="*/ 23 h 23"/>
                <a:gd name="T8" fmla="*/ 5 w 43"/>
                <a:gd name="T9" fmla="*/ 23 h 23"/>
                <a:gd name="T10" fmla="*/ 5 w 43"/>
                <a:gd name="T11" fmla="*/ 17 h 23"/>
                <a:gd name="T12" fmla="*/ 38 w 43"/>
                <a:gd name="T13" fmla="*/ 17 h 23"/>
                <a:gd name="T14" fmla="*/ 43 w 43"/>
                <a:gd name="T15" fmla="*/ 12 h 23"/>
                <a:gd name="T16" fmla="*/ 43 w 43"/>
                <a:gd name="T17" fmla="*/ 5 h 23"/>
                <a:gd name="T18" fmla="*/ 38 w 43"/>
                <a:gd name="T19" fmla="*/ 0 h 23"/>
                <a:gd name="T20" fmla="*/ 38 w 43"/>
                <a:gd name="T21" fmla="*/ 11 h 23"/>
                <a:gd name="T22" fmla="*/ 38 w 43"/>
                <a:gd name="T23" fmla="*/ 12 h 23"/>
                <a:gd name="T24" fmla="*/ 5 w 43"/>
                <a:gd name="T25" fmla="*/ 12 h 23"/>
                <a:gd name="T26" fmla="*/ 5 w 43"/>
                <a:gd name="T27" fmla="*/ 5 h 23"/>
                <a:gd name="T28" fmla="*/ 37 w 43"/>
                <a:gd name="T29" fmla="*/ 5 h 23"/>
                <a:gd name="T30" fmla="*/ 38 w 43"/>
                <a:gd name="T31" fmla="*/ 6 h 23"/>
                <a:gd name="T32" fmla="*/ 38 w 43"/>
                <a:gd name="T3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" h="23">
                  <a:moveTo>
                    <a:pt x="38" y="0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41" y="17"/>
                    <a:pt x="43" y="14"/>
                    <a:pt x="43" y="12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2"/>
                    <a:pt x="41" y="0"/>
                    <a:pt x="38" y="0"/>
                  </a:cubicBezTo>
                  <a:close/>
                  <a:moveTo>
                    <a:pt x="38" y="11"/>
                  </a:moveTo>
                  <a:cubicBezTo>
                    <a:pt x="38" y="11"/>
                    <a:pt x="38" y="12"/>
                    <a:pt x="38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5"/>
                    <a:pt x="38" y="5"/>
                    <a:pt x="38" y="6"/>
                  </a:cubicBezTo>
                  <a:lnTo>
                    <a:pt x="38" y="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670" dirty="0"/>
            </a:p>
          </p:txBody>
        </p:sp>
      </p:grpSp>
      <p:sp>
        <p:nvSpPr>
          <p:cNvPr id="35" name="textBoxChangeDate" hidden="1">
            <a:extLst>
              <a:ext uri="{FF2B5EF4-FFF2-40B4-BE49-F238E27FC236}">
                <a16:creationId xmlns:a16="http://schemas.microsoft.com/office/drawing/2014/main" id="{E66FA289-8747-411D-B981-EE77120C2E7A}"/>
              </a:ext>
            </a:extLst>
          </p:cNvPr>
          <p:cNvSpPr txBox="1">
            <a:spLocks/>
          </p:cNvSpPr>
          <p:nvPr userDrawn="1"/>
        </p:nvSpPr>
        <p:spPr>
          <a:xfrm>
            <a:off x="929103" y="2142357"/>
            <a:ext cx="1878656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200" b="0" dirty="0"/>
              <a:t>Änderungsdatum: 12.10.2018</a:t>
            </a:r>
          </a:p>
        </p:txBody>
      </p:sp>
      <p:sp>
        <p:nvSpPr>
          <p:cNvPr id="36" name="textBoxCreationDate" hidden="1">
            <a:extLst>
              <a:ext uri="{FF2B5EF4-FFF2-40B4-BE49-F238E27FC236}">
                <a16:creationId xmlns:a16="http://schemas.microsoft.com/office/drawing/2014/main" id="{4DE7E2AF-F273-4E0D-95F2-BA2DCD4C1100}"/>
              </a:ext>
            </a:extLst>
          </p:cNvPr>
          <p:cNvSpPr txBox="1">
            <a:spLocks/>
          </p:cNvSpPr>
          <p:nvPr userDrawn="1"/>
        </p:nvSpPr>
        <p:spPr>
          <a:xfrm>
            <a:off x="929104" y="2207465"/>
            <a:ext cx="1801391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200" b="0"/>
              <a:t>Erstellungsdatum: 3/6/2020</a:t>
            </a:r>
            <a:endParaRPr lang="de-DE" sz="1200" b="0" dirty="0"/>
          </a:p>
        </p:txBody>
      </p:sp>
      <p:sp>
        <p:nvSpPr>
          <p:cNvPr id="20" name="textBoxUserName">
            <a:extLst>
              <a:ext uri="{FF2B5EF4-FFF2-40B4-BE49-F238E27FC236}">
                <a16:creationId xmlns:a16="http://schemas.microsoft.com/office/drawing/2014/main" id="{4256B69B-FB45-44AE-9888-1CD421195833}"/>
              </a:ext>
            </a:extLst>
          </p:cNvPr>
          <p:cNvSpPr txBox="1">
            <a:spLocks noChangeArrowheads="1"/>
          </p:cNvSpPr>
          <p:nvPr userDrawn="1">
            <p:custDataLst>
              <p:tags r:id="rId35"/>
            </p:custDataLst>
          </p:nvPr>
        </p:nvSpPr>
        <p:spPr bwMode="auto">
          <a:xfrm>
            <a:off x="159851" y="2387904"/>
            <a:ext cx="65" cy="143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934" dirty="0"/>
          </a:p>
        </p:txBody>
      </p:sp>
      <p:sp>
        <p:nvSpPr>
          <p:cNvPr id="21" name="textBoxDepartment">
            <a:extLst>
              <a:ext uri="{FF2B5EF4-FFF2-40B4-BE49-F238E27FC236}">
                <a16:creationId xmlns:a16="http://schemas.microsoft.com/office/drawing/2014/main" id="{94C697CA-6027-452F-B1DA-30301A41340C}"/>
              </a:ext>
            </a:extLst>
          </p:cNvPr>
          <p:cNvSpPr txBox="1">
            <a:spLocks noChangeArrowheads="1"/>
          </p:cNvSpPr>
          <p:nvPr userDrawn="1">
            <p:custDataLst>
              <p:tags r:id="rId36"/>
            </p:custDataLst>
          </p:nvPr>
        </p:nvSpPr>
        <p:spPr bwMode="auto">
          <a:xfrm>
            <a:off x="228417" y="2387904"/>
            <a:ext cx="65" cy="143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934" dirty="0"/>
          </a:p>
        </p:txBody>
      </p:sp>
    </p:spTree>
    <p:extLst>
      <p:ext uri="{BB962C8B-B14F-4D97-AF65-F5344CB8AC3E}">
        <p14:creationId xmlns:p14="http://schemas.microsoft.com/office/powerpoint/2010/main" val="3979893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74" r:id="rId3"/>
    <p:sldLayoutId id="2147483712" r:id="rId4"/>
    <p:sldLayoutId id="2147483714" r:id="rId5"/>
    <p:sldLayoutId id="2147483720" r:id="rId6"/>
    <p:sldLayoutId id="2147483723" r:id="rId7"/>
    <p:sldLayoutId id="2147483762" r:id="rId8"/>
    <p:sldLayoutId id="2147483763" r:id="rId9"/>
    <p:sldLayoutId id="2147483729" r:id="rId10"/>
    <p:sldLayoutId id="2147483731" r:id="rId11"/>
    <p:sldLayoutId id="2147483733" r:id="rId12"/>
    <p:sldLayoutId id="2147483734" r:id="rId13"/>
    <p:sldLayoutId id="2147483735" r:id="rId14"/>
    <p:sldLayoutId id="2147483768" r:id="rId15"/>
    <p:sldLayoutId id="2147483769" r:id="rId16"/>
    <p:sldLayoutId id="2147483739" r:id="rId17"/>
    <p:sldLayoutId id="2147483770" r:id="rId18"/>
    <p:sldLayoutId id="2147483771" r:id="rId19"/>
    <p:sldLayoutId id="2147483772" r:id="rId20"/>
    <p:sldLayoutId id="2147483741" r:id="rId21"/>
    <p:sldLayoutId id="2147483743" r:id="rId22"/>
    <p:sldLayoutId id="2147483745" r:id="rId23"/>
    <p:sldLayoutId id="2147483754" r:id="rId24"/>
    <p:sldLayoutId id="2147483756" r:id="rId25"/>
    <p:sldLayoutId id="2147483757" r:id="rId26"/>
    <p:sldLayoutId id="2147483758" r:id="rId27"/>
    <p:sldLayoutId id="2147483759" r:id="rId28"/>
    <p:sldLayoutId id="2147483760" r:id="rId29"/>
    <p:sldLayoutId id="2147483761" r:id="rId30"/>
    <p:sldLayoutId id="2147483767" r:id="rId31"/>
  </p:sldLayoutIdLst>
  <p:hf hdr="0" ftr="0" dt="0"/>
  <p:txStyles>
    <p:titleStyle>
      <a:lvl1pPr algn="l" defTabSz="121923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21923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>
          <a:prstClr val="black"/>
        </a:buClr>
        <a:buSzPct val="90000"/>
        <a:buFontTx/>
        <a:buNone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239191" marR="0" indent="-239191" algn="l" defTabSz="121923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478378" marR="0" indent="-239191" algn="l" defTabSz="478378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Porsche News Gothic" panose="02000400000000000000" pitchFamily="2" charset="0"/>
        <a:buChar char="•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69" marR="0" indent="-239191" algn="l" defTabSz="717569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Symbol" panose="05050102010706020507" pitchFamily="18" charset="2"/>
        <a:buChar char="-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960023" marR="0" indent="-239191" algn="l" defTabSz="956755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1198062" marR="0" indent="-241306" algn="l" defTabSz="121923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198062" marR="0" indent="-241306" algn="l" defTabSz="121923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198062" marR="0" indent="-241306" algn="l" defTabSz="121923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198062" marR="0" indent="-241306" algn="l" defTabSz="1219230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121923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240006" indent="-240006" algn="l" defTabSz="121923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17" indent="-240006" algn="l" defTabSz="121923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29" indent="-240006" algn="l" defTabSz="121923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200029" indent="-240006" algn="l" defTabSz="121923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1200029" indent="-240006" algn="l" defTabSz="121923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00029" indent="-240006" algn="l" defTabSz="121923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200029" indent="-240006" algn="l" defTabSz="121923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00029" indent="-240006" algn="l" defTabSz="1219230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8" userDrawn="1">
          <p15:clr>
            <a:srgbClr val="F26B43"/>
          </p15:clr>
        </p15:guide>
        <p15:guide id="2" pos="430" userDrawn="1">
          <p15:clr>
            <a:srgbClr val="F26B43"/>
          </p15:clr>
        </p15:guide>
        <p15:guide id="3" orient="horz" pos="228" userDrawn="1">
          <p15:clr>
            <a:srgbClr val="F26B43"/>
          </p15:clr>
        </p15:guide>
        <p15:guide id="4" orient="horz" pos="305" userDrawn="1">
          <p15:clr>
            <a:srgbClr val="A4A3A4"/>
          </p15:clr>
        </p15:guide>
        <p15:guide id="5" orient="horz" pos="1327" userDrawn="1">
          <p15:clr>
            <a:srgbClr val="F26B43"/>
          </p15:clr>
        </p15:guide>
        <p15:guide id="6" orient="horz" pos="1249" userDrawn="1">
          <p15:clr>
            <a:srgbClr val="A4A3A4"/>
          </p15:clr>
        </p15:guide>
        <p15:guide id="7" pos="587" userDrawn="1">
          <p15:clr>
            <a:srgbClr val="A4A3A4"/>
          </p15:clr>
        </p15:guide>
        <p15:guide id="8" pos="1292" userDrawn="1">
          <p15:clr>
            <a:srgbClr val="A4A3A4"/>
          </p15:clr>
        </p15:guide>
        <p15:guide id="9" pos="1450" userDrawn="1">
          <p15:clr>
            <a:srgbClr val="A4A3A4"/>
          </p15:clr>
        </p15:guide>
        <p15:guide id="10" pos="2157" userDrawn="1">
          <p15:clr>
            <a:srgbClr val="A4A3A4"/>
          </p15:clr>
        </p15:guide>
        <p15:guide id="11" pos="2311" userDrawn="1">
          <p15:clr>
            <a:srgbClr val="A4A3A4"/>
          </p15:clr>
        </p15:guide>
        <p15:guide id="12" pos="3018" userDrawn="1">
          <p15:clr>
            <a:srgbClr val="A4A3A4"/>
          </p15:clr>
        </p15:guide>
        <p15:guide id="13" pos="3177" userDrawn="1">
          <p15:clr>
            <a:srgbClr val="A4A3A4"/>
          </p15:clr>
        </p15:guide>
        <p15:guide id="14" pos="3880" userDrawn="1">
          <p15:clr>
            <a:srgbClr val="A4A3A4"/>
          </p15:clr>
        </p15:guide>
        <p15:guide id="15" pos="4040" userDrawn="1">
          <p15:clr>
            <a:srgbClr val="A4A3A4"/>
          </p15:clr>
        </p15:guide>
        <p15:guide id="16" pos="4742" userDrawn="1">
          <p15:clr>
            <a:srgbClr val="A4A3A4"/>
          </p15:clr>
        </p15:guide>
        <p15:guide id="17" pos="4901" userDrawn="1">
          <p15:clr>
            <a:srgbClr val="A4A3A4"/>
          </p15:clr>
        </p15:guide>
        <p15:guide id="18" pos="560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Chapter">
            <a:extLst>
              <a:ext uri="{FF2B5EF4-FFF2-40B4-BE49-F238E27FC236}">
                <a16:creationId xmlns:a16="http://schemas.microsoft.com/office/drawing/2014/main" id="{A3EDBF11-724F-486C-A0BC-69777F9A46AD}"/>
              </a:ext>
            </a:extLst>
          </p:cNvPr>
          <p:cNvSpPr txBox="1"/>
          <p:nvPr/>
        </p:nvSpPr>
        <p:spPr>
          <a:xfrm>
            <a:off x="-2468659" y="-59755"/>
            <a:ext cx="13561485" cy="34559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r>
              <a:rPr lang="en-US" sz="1866" dirty="0">
                <a:latin typeface="Roboto" panose="02000000000000000000" pitchFamily="2" charset="0"/>
                <a:ea typeface="Roboto" panose="02000000000000000000" pitchFamily="2" charset="0"/>
              </a:rPr>
              <a:t>All unit tests in the literatur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20DC964-F6CF-4387-8A21-4D94B60AE74F}"/>
              </a:ext>
            </a:extLst>
          </p:cNvPr>
          <p:cNvGrpSpPr/>
          <p:nvPr/>
        </p:nvGrpSpPr>
        <p:grpSpPr>
          <a:xfrm>
            <a:off x="1564244" y="442428"/>
            <a:ext cx="5629730" cy="1968687"/>
            <a:chOff x="2338122" y="2002545"/>
            <a:chExt cx="5494867" cy="210167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EC1C7B6D-8245-4BF7-8931-BDCF5C66730A}"/>
                </a:ext>
              </a:extLst>
            </p:cNvPr>
            <p:cNvSpPr/>
            <p:nvPr/>
          </p:nvSpPr>
          <p:spPr>
            <a:xfrm>
              <a:off x="2338122" y="2002545"/>
              <a:ext cx="5494867" cy="2101678"/>
            </a:xfrm>
            <a:prstGeom prst="rect">
              <a:avLst/>
            </a:prstGeom>
            <a:solidFill>
              <a:schemeClr val="accent4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45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textBoxChapter">
              <a:extLst>
                <a:ext uri="{FF2B5EF4-FFF2-40B4-BE49-F238E27FC236}">
                  <a16:creationId xmlns:a16="http://schemas.microsoft.com/office/drawing/2014/main" id="{DE727DF0-053E-4867-935E-8D5827828105}"/>
                </a:ext>
              </a:extLst>
            </p:cNvPr>
            <p:cNvSpPr txBox="1"/>
            <p:nvPr/>
          </p:nvSpPr>
          <p:spPr>
            <a:xfrm>
              <a:off x="2423804" y="3680625"/>
              <a:ext cx="2735877" cy="4235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noAutofit/>
            </a:bodyPr>
            <a:lstStyle/>
            <a:p>
              <a:r>
                <a:rPr lang="en-US" sz="1866" dirty="0">
                  <a:latin typeface="Roboto" panose="02000000000000000000" pitchFamily="2" charset="0"/>
                  <a:ea typeface="Roboto" panose="02000000000000000000" pitchFamily="2" charset="0"/>
                </a:rPr>
                <a:t>Compare-xAI benchmark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74F2AEB-D803-437C-A8D4-225BD34FDC49}"/>
                </a:ext>
              </a:extLst>
            </p:cNvPr>
            <p:cNvSpPr/>
            <p:nvPr/>
          </p:nvSpPr>
          <p:spPr>
            <a:xfrm>
              <a:off x="3894693" y="2837947"/>
              <a:ext cx="2253916" cy="502141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66" b="1" spc="66" dirty="0">
                  <a:ln w="9525" cmpd="sng">
                    <a:solidFill>
                      <a:schemeClr val="accent1"/>
                    </a:solidFill>
                    <a:prstDash val="solid"/>
                  </a:ln>
                  <a:solidFill>
                    <a:srgbClr val="70AD47">
                      <a:tint val="1000"/>
                    </a:srgbClr>
                  </a:solidFill>
                  <a:effectLst>
                    <a:glow rad="38100">
                      <a:schemeClr val="accent1">
                        <a:alpha val="40000"/>
                      </a:schemeClr>
                    </a:glow>
                  </a:effectLst>
                  <a:latin typeface="Roboto" panose="02000000000000000000" pitchFamily="2" charset="0"/>
                  <a:ea typeface="Roboto" panose="02000000000000000000" pitchFamily="2" charset="0"/>
                </a:rPr>
                <a:t>Run experiments</a:t>
              </a:r>
            </a:p>
          </p:txBody>
        </p:sp>
      </p:grpSp>
      <p:sp>
        <p:nvSpPr>
          <p:cNvPr id="12" name="textBoxChapter">
            <a:extLst>
              <a:ext uri="{FF2B5EF4-FFF2-40B4-BE49-F238E27FC236}">
                <a16:creationId xmlns:a16="http://schemas.microsoft.com/office/drawing/2014/main" id="{950F8266-96D2-4550-B7D5-7BB5D5FF0926}"/>
              </a:ext>
            </a:extLst>
          </p:cNvPr>
          <p:cNvSpPr txBox="1"/>
          <p:nvPr/>
        </p:nvSpPr>
        <p:spPr>
          <a:xfrm>
            <a:off x="-2468659" y="626185"/>
            <a:ext cx="13561485" cy="34137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r>
              <a:rPr lang="en-US" sz="1866" dirty="0">
                <a:latin typeface="Roboto" panose="02000000000000000000" pitchFamily="2" charset="0"/>
                <a:ea typeface="Roboto" panose="02000000000000000000" pitchFamily="2" charset="0"/>
              </a:rPr>
              <a:t>A selection of exclusive unit tests </a:t>
            </a:r>
          </a:p>
        </p:txBody>
      </p:sp>
      <p:sp>
        <p:nvSpPr>
          <p:cNvPr id="13" name="textBoxChapter">
            <a:extLst>
              <a:ext uri="{FF2B5EF4-FFF2-40B4-BE49-F238E27FC236}">
                <a16:creationId xmlns:a16="http://schemas.microsoft.com/office/drawing/2014/main" id="{105AB3AA-5141-4E84-9124-F78AE9401CB6}"/>
              </a:ext>
            </a:extLst>
          </p:cNvPr>
          <p:cNvSpPr txBox="1"/>
          <p:nvPr/>
        </p:nvSpPr>
        <p:spPr>
          <a:xfrm>
            <a:off x="171545" y="1243074"/>
            <a:ext cx="1146545" cy="4185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/>
            <a:r>
              <a:rPr lang="en-US" sz="1866" dirty="0">
                <a:latin typeface="Roboto" panose="02000000000000000000" pitchFamily="2" charset="0"/>
                <a:ea typeface="Roboto" panose="02000000000000000000" pitchFamily="2" charset="0"/>
              </a:rPr>
              <a:t>xAI algorithms</a:t>
            </a:r>
          </a:p>
        </p:txBody>
      </p:sp>
      <p:sp>
        <p:nvSpPr>
          <p:cNvPr id="14" name="textBoxChapter">
            <a:extLst>
              <a:ext uri="{FF2B5EF4-FFF2-40B4-BE49-F238E27FC236}">
                <a16:creationId xmlns:a16="http://schemas.microsoft.com/office/drawing/2014/main" id="{00A584A6-5BCB-4581-A428-EED7287409DA}"/>
              </a:ext>
            </a:extLst>
          </p:cNvPr>
          <p:cNvSpPr txBox="1"/>
          <p:nvPr/>
        </p:nvSpPr>
        <p:spPr>
          <a:xfrm>
            <a:off x="5931516" y="1261305"/>
            <a:ext cx="921990" cy="4128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/>
            <a:r>
              <a:rPr lang="en-US" sz="1866" dirty="0">
                <a:latin typeface="Roboto" panose="02000000000000000000" pitchFamily="2" charset="0"/>
                <a:ea typeface="Roboto" panose="02000000000000000000" pitchFamily="2" charset="0"/>
              </a:rPr>
              <a:t>Raw</a:t>
            </a:r>
            <a:br>
              <a:rPr lang="en-US" sz="1866" dirty="0"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 sz="1866" dirty="0">
                <a:latin typeface="Roboto" panose="02000000000000000000" pitchFamily="2" charset="0"/>
                <a:ea typeface="Roboto" panose="02000000000000000000" pitchFamily="2" charset="0"/>
              </a:rPr>
              <a:t>results</a:t>
            </a:r>
          </a:p>
        </p:txBody>
      </p:sp>
      <p:sp>
        <p:nvSpPr>
          <p:cNvPr id="15" name="textBoxChapter">
            <a:extLst>
              <a:ext uri="{FF2B5EF4-FFF2-40B4-BE49-F238E27FC236}">
                <a16:creationId xmlns:a16="http://schemas.microsoft.com/office/drawing/2014/main" id="{02AA7A72-0B39-4F86-8B4C-A39D4CE7C704}"/>
              </a:ext>
            </a:extLst>
          </p:cNvPr>
          <p:cNvSpPr txBox="1"/>
          <p:nvPr/>
        </p:nvSpPr>
        <p:spPr>
          <a:xfrm>
            <a:off x="7378490" y="1132944"/>
            <a:ext cx="1383081" cy="6695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/>
            <a:r>
              <a:rPr lang="en-US" sz="1866" dirty="0">
                <a:latin typeface="Roboto" panose="02000000000000000000" pitchFamily="2" charset="0"/>
                <a:ea typeface="Roboto" panose="02000000000000000000" pitchFamily="2" charset="0"/>
              </a:rPr>
              <a:t>Hierarchical scoring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7D961534-69F4-436A-AA19-3A5AE66EF92F}"/>
              </a:ext>
            </a:extLst>
          </p:cNvPr>
          <p:cNvCxnSpPr>
            <a:cxnSpLocks/>
            <a:stCxn id="10" idx="2"/>
          </p:cNvCxnSpPr>
          <p:nvPr/>
        </p:nvCxnSpPr>
        <p:spPr>
          <a:xfrm>
            <a:off x="4312082" y="285843"/>
            <a:ext cx="0" cy="340351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D9F6083-DC4C-4CDF-98A7-045DBCB64960}"/>
              </a:ext>
            </a:extLst>
          </p:cNvPr>
          <p:cNvCxnSpPr>
            <a:cxnSpLocks/>
            <a:stCxn id="13" idx="3"/>
            <a:endCxn id="4" idx="1"/>
          </p:cNvCxnSpPr>
          <p:nvPr/>
        </p:nvCxnSpPr>
        <p:spPr>
          <a:xfrm>
            <a:off x="1318088" y="1452356"/>
            <a:ext cx="1840930" cy="7797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C33ED23-F80A-4B16-9C67-56BDBDB5CD59}"/>
              </a:ext>
            </a:extLst>
          </p:cNvPr>
          <p:cNvCxnSpPr>
            <a:cxnSpLocks/>
            <a:stCxn id="12" idx="2"/>
            <a:endCxn id="4" idx="0"/>
          </p:cNvCxnSpPr>
          <p:nvPr/>
        </p:nvCxnSpPr>
        <p:spPr>
          <a:xfrm>
            <a:off x="4312090" y="967569"/>
            <a:ext cx="1551" cy="257399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02D47649-A516-4DA0-8A39-EABC9727146B}"/>
              </a:ext>
            </a:extLst>
          </p:cNvPr>
          <p:cNvCxnSpPr>
            <a:cxnSpLocks/>
            <a:stCxn id="4" idx="3"/>
            <a:endCxn id="14" idx="1"/>
          </p:cNvCxnSpPr>
          <p:nvPr/>
        </p:nvCxnSpPr>
        <p:spPr>
          <a:xfrm>
            <a:off x="5468254" y="1460151"/>
            <a:ext cx="463264" cy="7561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E56CB3A-892C-4582-9AA3-97291FB826DB}"/>
              </a:ext>
            </a:extLst>
          </p:cNvPr>
          <p:cNvCxnSpPr>
            <a:cxnSpLocks/>
            <a:stCxn id="14" idx="3"/>
            <a:endCxn id="15" idx="1"/>
          </p:cNvCxnSpPr>
          <p:nvPr/>
        </p:nvCxnSpPr>
        <p:spPr>
          <a:xfrm>
            <a:off x="6853505" y="1467705"/>
            <a:ext cx="524978" cy="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Chapter">
            <a:extLst>
              <a:ext uri="{FF2B5EF4-FFF2-40B4-BE49-F238E27FC236}">
                <a16:creationId xmlns:a16="http://schemas.microsoft.com/office/drawing/2014/main" id="{0EB67450-6C3E-4873-B516-C66E195DEFAE}"/>
              </a:ext>
            </a:extLst>
          </p:cNvPr>
          <p:cNvSpPr txBox="1"/>
          <p:nvPr/>
        </p:nvSpPr>
        <p:spPr>
          <a:xfrm>
            <a:off x="6066023" y="635559"/>
            <a:ext cx="586047" cy="5373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r>
              <a:rPr lang="de-DE" sz="3734" dirty="0">
                <a:solidFill>
                  <a:schemeClr val="accent2"/>
                </a:solidFill>
                <a:latin typeface="Arial" panose="020B0604020202020204" pitchFamily="34" charset="0"/>
              </a:rPr>
              <a:t>➀</a:t>
            </a:r>
            <a:endParaRPr lang="en-US" sz="1866" dirty="0">
              <a:solidFill>
                <a:schemeClr val="accent2"/>
              </a:solidFill>
              <a:latin typeface="NewsGoth for Porsche Com" panose="020B0506020203020204" pitchFamily="34" charset="0"/>
            </a:endParaRPr>
          </a:p>
        </p:txBody>
      </p:sp>
      <p:sp>
        <p:nvSpPr>
          <p:cNvPr id="30" name="textBoxChapter">
            <a:extLst>
              <a:ext uri="{FF2B5EF4-FFF2-40B4-BE49-F238E27FC236}">
                <a16:creationId xmlns:a16="http://schemas.microsoft.com/office/drawing/2014/main" id="{606C0DD0-C978-424D-9811-B18C623F6546}"/>
              </a:ext>
            </a:extLst>
          </p:cNvPr>
          <p:cNvSpPr txBox="1"/>
          <p:nvPr/>
        </p:nvSpPr>
        <p:spPr>
          <a:xfrm>
            <a:off x="6625292" y="1617174"/>
            <a:ext cx="669350" cy="5373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r>
              <a:rPr lang="de-DE" sz="3734" dirty="0">
                <a:solidFill>
                  <a:schemeClr val="accent2"/>
                </a:solidFill>
                <a:latin typeface="Arial" panose="020B0604020202020204" pitchFamily="34" charset="0"/>
              </a:rPr>
              <a:t>➁</a:t>
            </a:r>
            <a:endParaRPr lang="en-US" sz="1866" dirty="0">
              <a:solidFill>
                <a:schemeClr val="accent2"/>
              </a:solidFill>
              <a:latin typeface="NewsGoth for Porsche Com" panose="020B0506020203020204" pitchFamily="34" charset="0"/>
            </a:endParaRPr>
          </a:p>
        </p:txBody>
      </p:sp>
      <p:sp>
        <p:nvSpPr>
          <p:cNvPr id="31" name="textBoxChapter">
            <a:extLst>
              <a:ext uri="{FF2B5EF4-FFF2-40B4-BE49-F238E27FC236}">
                <a16:creationId xmlns:a16="http://schemas.microsoft.com/office/drawing/2014/main" id="{8BAC1D62-F43F-4B99-9901-5D80C3DEB122}"/>
              </a:ext>
            </a:extLst>
          </p:cNvPr>
          <p:cNvSpPr txBox="1"/>
          <p:nvPr/>
        </p:nvSpPr>
        <p:spPr>
          <a:xfrm>
            <a:off x="8444398" y="1617189"/>
            <a:ext cx="826933" cy="53732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r>
              <a:rPr lang="de-DE" sz="3734" dirty="0">
                <a:solidFill>
                  <a:schemeClr val="accent2"/>
                </a:solidFill>
                <a:latin typeface="Arial" panose="020B0604020202020204" pitchFamily="34" charset="0"/>
              </a:rPr>
              <a:t>➂</a:t>
            </a:r>
            <a:endParaRPr lang="en-US" sz="1866" dirty="0">
              <a:solidFill>
                <a:schemeClr val="accent2"/>
              </a:solidFill>
              <a:latin typeface="NewsGoth for Porsche Com" panose="020B0506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05848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heme/theme1.xml><?xml version="1.0" encoding="utf-8"?>
<a:theme xmlns:a="http://schemas.openxmlformats.org/drawingml/2006/main" name="Porsche 16zu9 Mastervorlage ohne Navigation 2013">
  <a:themeElements>
    <a:clrScheme name="Porsche CI 2017 Farbpalette">
      <a:dk1>
        <a:sysClr val="windowText" lastClr="000000"/>
      </a:dk1>
      <a:lt1>
        <a:sysClr val="window" lastClr="FFFFFF"/>
      </a:lt1>
      <a:dk2>
        <a:srgbClr val="403F45"/>
      </a:dk2>
      <a:lt2>
        <a:srgbClr val="DAD9DE"/>
      </a:lt2>
      <a:accent1>
        <a:srgbClr val="737278"/>
      </a:accent1>
      <a:accent2>
        <a:srgbClr val="D5001C"/>
      </a:accent2>
      <a:accent3>
        <a:srgbClr val="B5B4BA"/>
      </a:accent3>
      <a:accent4>
        <a:srgbClr val="DAD9DE"/>
      </a:accent4>
      <a:accent5>
        <a:srgbClr val="FFFFFF"/>
      </a:accent5>
      <a:accent6>
        <a:srgbClr val="336699"/>
      </a:accent6>
      <a:hlink>
        <a:srgbClr val="B5B4BA"/>
      </a:hlink>
      <a:folHlink>
        <a:srgbClr val="DAD9DE"/>
      </a:folHlink>
    </a:clrScheme>
    <a:fontScheme name="Porsche Next TT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317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Custom Color 1">
      <a:srgbClr val="2A4B6D"/>
    </a:custClr>
    <a:custClr name="Custom Color 2">
      <a:srgbClr val="3A6B9B"/>
    </a:custClr>
    <a:custClr name="Custom Color 3">
      <a:srgbClr val="5391C4"/>
    </a:custClr>
    <a:custClr name="Custom Color 4">
      <a:srgbClr val="76AFDC"/>
    </a:custClr>
    <a:custClr name="Custom Color 5">
      <a:srgbClr val="658E11"/>
    </a:custClr>
    <a:custClr name="Custom Color 6">
      <a:srgbClr val="8CB527"/>
    </a:custClr>
    <a:custClr name="Custom Color 7">
      <a:srgbClr val="D88711"/>
    </a:custClr>
    <a:custClr name="Custom Color 8">
      <a:srgbClr val="F2A100"/>
    </a:custClr>
    <a:custClr name="Custom Color 9">
      <a:srgbClr val="94001B"/>
    </a:custClr>
    <a:custClr name="Custom Color 10">
      <a:srgbClr val="C32718"/>
    </a:custClr>
  </a:custClrLst>
  <a:extLst>
    <a:ext uri="{05A4C25C-085E-4340-85A3-A5531E510DB2}">
      <thm15:themeFamily xmlns:thm15="http://schemas.microsoft.com/office/thememl/2012/main" name="Porsche Präsentations-Master-Vorlagen.pptx" id="{1F5CB06A-EF12-4B65-BFD5-537058F6CA9C}" vid="{3D9C66F8-33BE-4D66-A7AF-F8B76D9C5AED}"/>
    </a:ext>
  </a:extLst>
</a:theme>
</file>

<file path=ppt/theme/theme2.xml><?xml version="1.0" encoding="utf-8"?>
<a:theme xmlns:a="http://schemas.openxmlformats.org/drawingml/2006/main" name="Larissa">
  <a:themeElements>
    <a:clrScheme name="Porsche CI 2017 Farbpalette">
      <a:dk1>
        <a:sysClr val="windowText" lastClr="000000"/>
      </a:dk1>
      <a:lt1>
        <a:sysClr val="window" lastClr="FFFFFF"/>
      </a:lt1>
      <a:dk2>
        <a:srgbClr val="403F45"/>
      </a:dk2>
      <a:lt2>
        <a:srgbClr val="DAD9DE"/>
      </a:lt2>
      <a:accent1>
        <a:srgbClr val="737278"/>
      </a:accent1>
      <a:accent2>
        <a:srgbClr val="D5001C"/>
      </a:accent2>
      <a:accent3>
        <a:srgbClr val="B5B4BA"/>
      </a:accent3>
      <a:accent4>
        <a:srgbClr val="DAD9DE"/>
      </a:accent4>
      <a:accent5>
        <a:srgbClr val="FFFFFF"/>
      </a:accent5>
      <a:accent6>
        <a:srgbClr val="336699"/>
      </a:accent6>
      <a:hlink>
        <a:srgbClr val="B5B4BA"/>
      </a:hlink>
      <a:folHlink>
        <a:srgbClr val="DAD9DE"/>
      </a:folHlink>
    </a:clrScheme>
    <a:fontScheme name="Porsche Next TT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Porsche Mastervorlage 2013">
      <a:dk1>
        <a:sysClr val="windowText" lastClr="000000"/>
      </a:dk1>
      <a:lt1>
        <a:sysClr val="window" lastClr="FFFFFF"/>
      </a:lt1>
      <a:dk2>
        <a:srgbClr val="5F5F5F"/>
      </a:dk2>
      <a:lt2>
        <a:srgbClr val="777777"/>
      </a:lt2>
      <a:accent1>
        <a:srgbClr val="A7A7A7"/>
      </a:accent1>
      <a:accent2>
        <a:srgbClr val="D60027"/>
      </a:accent2>
      <a:accent3>
        <a:srgbClr val="C0C0C0"/>
      </a:accent3>
      <a:accent4>
        <a:srgbClr val="E1E1E1"/>
      </a:accent4>
      <a:accent5>
        <a:srgbClr val="FFFFFF"/>
      </a:accent5>
      <a:accent6>
        <a:srgbClr val="336699"/>
      </a:accent6>
      <a:hlink>
        <a:srgbClr val="C0C0C0"/>
      </a:hlink>
      <a:folHlink>
        <a:srgbClr val="E1E1E1"/>
      </a:folHlink>
    </a:clrScheme>
    <a:fontScheme name="Porsche Next TT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rsche Präsentations-Master-Vorlagen</Template>
  <TotalTime>0</TotalTime>
  <Words>26</Words>
  <Application>Microsoft Office PowerPoint</Application>
  <PresentationFormat>Custom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NewsGoth for Porsche Com</vt:lpstr>
      <vt:lpstr>Porsche News Gothic</vt:lpstr>
      <vt:lpstr>Porsche Next TT</vt:lpstr>
      <vt:lpstr>Roboto</vt:lpstr>
      <vt:lpstr>Symbol</vt:lpstr>
      <vt:lpstr>Wingdings</vt:lpstr>
      <vt:lpstr>Porsche 16zu9 Mastervorlage ohne Navigation 2013</vt:lpstr>
      <vt:lpstr>think-cell Folie</vt:lpstr>
      <vt:lpstr>PowerPoint Presentation</vt:lpstr>
    </vt:vector>
  </TitlesOfParts>
  <Manager>Christina Weinmann / VM2 / CI</Manager>
  <Company>Porsch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Neue Präsentation in PowerPoint2010</dc:subject>
  <dc:creator>Mohamed Karim Belaid</dc:creator>
  <cp:keywords>Arbeitsgruppenvorlage-Vorlage</cp:keywords>
  <dc:description>17.08.2017 FII4_DL, B.Müller / VMK
- Neue CI-Schrift Porsche Next TT
- Anpassungen gem. neuem CI-Guide
- Anpassungen Folienmaster, Handzettelmaster, Notizenmaster
- Schriftzug 50mm Breite
- Wappenlogo 80mm Breite
- Format 16:9
--------------------------------------------
2011 / Office2010-Projekt
- erstellt a.B. der PowerPoint2010-Neue Präsentation
- Neue CI-Schriften im OpenType-Format (VM2)
Jan.-Juli 2013 / ex.DL Thomas Breuer / VM2,GG,GOI
- Layoutänderung nach PDF-Vorgabe von KMS-TEAM
  und Präzisierungsvorschlägen von Hrn.Breuer
- Anpassung PorscheToolsPP an geändertes Layout
26.08.2013 / ex.DL Thomas Breuer / GOI, F.Jahke
- Layoutänderung auf 16:9
- keine Anpassung PorscheToolsPP an 16:9-Layout!!
11.03.2015 / FAS3, R.Maurer / VM2, F.Weinmann
- Autor leer (wg. Kennwortmeldung "ist belegt von")
- Porsche Schriftzuglänge 8cm (S1) und 5 cm (ab S2)
- Mastername:
Porsche 16zu9 Mastervorlage ohne Navigation 2013
- Master beibehalten: Ja</dc:description>
  <cp:lastModifiedBy>Karim Belaid</cp:lastModifiedBy>
  <cp:revision>617</cp:revision>
  <dcterms:created xsi:type="dcterms:W3CDTF">2018-10-12T08:44:04Z</dcterms:created>
  <dcterms:modified xsi:type="dcterms:W3CDTF">2022-06-09T07:44:19Z</dcterms:modified>
  <cp:category>Formulare</cp:category>
</cp:coreProperties>
</file>